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charts/chart85.xml" ContentType="application/vnd.openxmlformats-officedocument.drawingml.chart+xml"/>
  <Override PartName="/ppt/tags/tag124.xml" ContentType="application/vnd.openxmlformats-officedocument.presentationml.tags+xml"/>
  <Override PartName="/ppt/charts/chart86.xml" ContentType="application/vnd.openxmlformats-officedocument.drawingml.chart+xml"/>
  <Override PartName="/ppt/tags/tag125.xml" ContentType="application/vnd.openxmlformats-officedocument.presentationml.tags+xml"/>
  <Override PartName="/ppt/charts/chart87.xml" ContentType="application/vnd.openxmlformats-officedocument.drawingml.chart+xml"/>
  <Override PartName="/ppt/tags/tag126.xml" ContentType="application/vnd.openxmlformats-officedocument.presentationml.tags+xml"/>
  <Override PartName="/ppt/charts/chart88.xml" ContentType="application/vnd.openxmlformats-officedocument.drawingml.chart+xml"/>
  <Override PartName="/ppt/tags/tag127.xml" ContentType="application/vnd.openxmlformats-officedocument.presentationml.tags+xml"/>
  <Override PartName="/ppt/charts/chart89.xml" ContentType="application/vnd.openxmlformats-officedocument.drawingml.chart+xml"/>
  <Override PartName="/ppt/tags/tag128.xml" ContentType="application/vnd.openxmlformats-officedocument.presentationml.tags+xml"/>
  <Override PartName="/ppt/charts/chart90.xml" ContentType="application/vnd.openxmlformats-officedocument.drawingml.chart+xml"/>
  <Override PartName="/ppt/tags/tag129.xml" ContentType="application/vnd.openxmlformats-officedocument.presentationml.tags+xml"/>
  <Override PartName="/ppt/charts/chart91.xml" ContentType="application/vnd.openxmlformats-officedocument.drawingml.chart+xml"/>
  <Override PartName="/ppt/tags/tag130.xml" ContentType="application/vnd.openxmlformats-officedocument.presentationml.tags+xml"/>
  <Override PartName="/ppt/charts/chart92.xml" ContentType="application/vnd.openxmlformats-officedocument.drawingml.chart+xml"/>
  <Override PartName="/ppt/tags/tag131.xml" ContentType="application/vnd.openxmlformats-officedocument.presentationml.tags+xml"/>
  <Override PartName="/ppt/charts/chart93.xml" ContentType="application/vnd.openxmlformats-officedocument.drawingml.chart+xml"/>
  <Override PartName="/ppt/tags/tag132.xml" ContentType="application/vnd.openxmlformats-officedocument.presentationml.tags+xml"/>
  <Override PartName="/ppt/charts/chart94.xml" ContentType="application/vnd.openxmlformats-officedocument.drawingml.chart+xml"/>
  <Override PartName="/ppt/tags/tag133.xml" ContentType="application/vnd.openxmlformats-officedocument.presentationml.tags+xml"/>
  <Override PartName="/ppt/charts/chart95.xml" ContentType="application/vnd.openxmlformats-officedocument.drawingml.chart+xml"/>
  <Override PartName="/ppt/tags/tag134.xml" ContentType="application/vnd.openxmlformats-officedocument.presentationml.tags+xml"/>
  <Override PartName="/ppt/charts/chart96.xml" ContentType="application/vnd.openxmlformats-officedocument.drawingml.chart+xml"/>
  <Override PartName="/ppt/tags/tag135.xml" ContentType="application/vnd.openxmlformats-officedocument.presentationml.tags+xml"/>
  <Override PartName="/ppt/notesSlides/notesSlide50.xml" ContentType="application/vnd.openxmlformats-officedocument.presentationml.notesSlide+xml"/>
  <Override PartName="/ppt/charts/chart97.xml" ContentType="application/vnd.openxmlformats-officedocument.drawingml.chart+xml"/>
  <Override PartName="/ppt/charts/style19.xml" ContentType="application/vnd.ms-office.chartstyle+xml"/>
  <Override PartName="/ppt/charts/colors19.xml" ContentType="application/vnd.ms-office.chartcolorstyle+xml"/>
  <Override PartName="/ppt/tags/tag136.xml" ContentType="application/vnd.openxmlformats-officedocument.presentationml.tags+xml"/>
  <Override PartName="/ppt/notesSlides/notesSlide51.xml" ContentType="application/vnd.openxmlformats-officedocument.presentationml.notesSlide+xml"/>
  <Override PartName="/ppt/charts/chart98.xml" ContentType="application/vnd.openxmlformats-officedocument.drawingml.chart+xml"/>
  <Override PartName="/ppt/charts/style20.xml" ContentType="application/vnd.ms-office.chartstyle+xml"/>
  <Override PartName="/ppt/charts/colors20.xml" ContentType="application/vnd.ms-office.chartcolorstyle+xml"/>
  <Override PartName="/ppt/tags/tag137.xml" ContentType="application/vnd.openxmlformats-officedocument.presentationml.tags+xml"/>
  <Override PartName="/ppt/notesSlides/notesSlide52.xml" ContentType="application/vnd.openxmlformats-officedocument.presentationml.notesSlide+xml"/>
  <Override PartName="/ppt/charts/chart99.xml" ContentType="application/vnd.openxmlformats-officedocument.drawingml.chart+xml"/>
  <Override PartName="/ppt/charts/style21.xml" ContentType="application/vnd.ms-office.chartstyle+xml"/>
  <Override PartName="/ppt/charts/colors21.xml" ContentType="application/vnd.ms-office.chartcolorstyle+xml"/>
  <Override PartName="/ppt/tags/tag138.xml" ContentType="application/vnd.openxmlformats-officedocument.presentationml.tags+xml"/>
  <Override PartName="/ppt/notesSlides/notesSlide53.xml" ContentType="application/vnd.openxmlformats-officedocument.presentationml.notesSlide+xml"/>
  <Override PartName="/ppt/charts/chart100.xml" ContentType="application/vnd.openxmlformats-officedocument.drawingml.chart+xml"/>
  <Override PartName="/ppt/charts/style22.xml" ContentType="application/vnd.ms-office.chartstyle+xml"/>
  <Override PartName="/ppt/charts/colors22.xml" ContentType="application/vnd.ms-office.chartcolorstyle+xml"/>
  <Override PartName="/ppt/tags/tag139.xml" ContentType="application/vnd.openxmlformats-officedocument.presentationml.tags+xml"/>
  <Override PartName="/ppt/notesSlides/notesSlide54.xml" ContentType="application/vnd.openxmlformats-officedocument.presentationml.notesSlide+xml"/>
  <Override PartName="/ppt/charts/chart101.xml" ContentType="application/vnd.openxmlformats-officedocument.drawingml.chart+xml"/>
  <Override PartName="/ppt/charts/style23.xml" ContentType="application/vnd.ms-office.chartstyle+xml"/>
  <Override PartName="/ppt/charts/colors23.xml" ContentType="application/vnd.ms-office.chartcolorstyle+xml"/>
  <Override PartName="/ppt/tags/tag140.xml" ContentType="application/vnd.openxmlformats-officedocument.presentationml.tags+xml"/>
  <Override PartName="/ppt/notesSlides/notesSlide55.xml" ContentType="application/vnd.openxmlformats-officedocument.presentationml.notesSlide+xml"/>
  <Override PartName="/ppt/charts/chart102.xml" ContentType="application/vnd.openxmlformats-officedocument.drawingml.chart+xml"/>
  <Override PartName="/ppt/charts/style24.xml" ContentType="application/vnd.ms-office.chartstyle+xml"/>
  <Override PartName="/ppt/charts/colors24.xml" ContentType="application/vnd.ms-office.chartcolorstyle+xml"/>
  <Override PartName="/ppt/tags/tag141.xml" ContentType="application/vnd.openxmlformats-officedocument.presentationml.tags+xml"/>
  <Override PartName="/ppt/notesSlides/notesSlide56.xml" ContentType="application/vnd.openxmlformats-officedocument.presentationml.notesSlide+xml"/>
  <Override PartName="/ppt/charts/chart103.xml" ContentType="application/vnd.openxmlformats-officedocument.drawingml.chart+xml"/>
  <Override PartName="/ppt/charts/style25.xml" ContentType="application/vnd.ms-office.chartstyle+xml"/>
  <Override PartName="/ppt/charts/colors25.xml" ContentType="application/vnd.ms-office.chartcolorstyle+xml"/>
  <Override PartName="/ppt/tags/tag142.xml" ContentType="application/vnd.openxmlformats-officedocument.presentationml.tags+xml"/>
  <Override PartName="/ppt/notesSlides/notesSlide57.xml" ContentType="application/vnd.openxmlformats-officedocument.presentationml.notesSlide+xml"/>
  <Override PartName="/ppt/charts/chart104.xml" ContentType="application/vnd.openxmlformats-officedocument.drawingml.chart+xml"/>
  <Override PartName="/ppt/charts/style26.xml" ContentType="application/vnd.ms-office.chartstyle+xml"/>
  <Override PartName="/ppt/charts/colors26.xml" ContentType="application/vnd.ms-office.chartcolorstyle+xml"/>
  <Override PartName="/ppt/tags/tag143.xml" ContentType="application/vnd.openxmlformats-officedocument.presentationml.tags+xml"/>
  <Override PartName="/ppt/notesSlides/notesSlide58.xml" ContentType="application/vnd.openxmlformats-officedocument.presentationml.notesSlide+xml"/>
  <Override PartName="/ppt/charts/chart105.xml" ContentType="application/vnd.openxmlformats-officedocument.drawingml.chart+xml"/>
  <Override PartName="/ppt/charts/style27.xml" ContentType="application/vnd.ms-office.chartstyle+xml"/>
  <Override PartName="/ppt/charts/colors27.xml" ContentType="application/vnd.ms-office.chartcolorstyle+xml"/>
  <Override PartName="/ppt/tags/tag144.xml" ContentType="application/vnd.openxmlformats-officedocument.presentationml.tags+xml"/>
  <Override PartName="/ppt/notesSlides/notesSlide59.xml" ContentType="application/vnd.openxmlformats-officedocument.presentationml.notesSlide+xml"/>
  <Override PartName="/ppt/charts/chart106.xml" ContentType="application/vnd.openxmlformats-officedocument.drawingml.chart+xml"/>
  <Override PartName="/ppt/charts/style28.xml" ContentType="application/vnd.ms-office.chartstyle+xml"/>
  <Override PartName="/ppt/charts/colors28.xml" ContentType="application/vnd.ms-office.chartcolorstyle+xml"/>
  <Override PartName="/ppt/tags/tag145.xml" ContentType="application/vnd.openxmlformats-officedocument.presentationml.tags+xml"/>
  <Override PartName="/ppt/notesSlides/notesSlide60.xml" ContentType="application/vnd.openxmlformats-officedocument.presentationml.notesSlide+xml"/>
  <Override PartName="/ppt/charts/chart107.xml" ContentType="application/vnd.openxmlformats-officedocument.drawingml.chart+xml"/>
  <Override PartName="/ppt/charts/style29.xml" ContentType="application/vnd.ms-office.chartstyle+xml"/>
  <Override PartName="/ppt/charts/colors29.xml" ContentType="application/vnd.ms-office.chartcolorstyle+xml"/>
  <Override PartName="/ppt/tags/tag146.xml" ContentType="application/vnd.openxmlformats-officedocument.presentationml.tags+xml"/>
  <Override PartName="/ppt/notesSlides/notesSlide61.xml" ContentType="application/vnd.openxmlformats-officedocument.presentationml.notesSlide+xml"/>
  <Override PartName="/ppt/charts/chart108.xml" ContentType="application/vnd.openxmlformats-officedocument.drawingml.chart+xml"/>
  <Override PartName="/ppt/charts/style30.xml" ContentType="application/vnd.ms-office.chartstyle+xml"/>
  <Override PartName="/ppt/charts/colors30.xml" ContentType="application/vnd.ms-office.chartcolorstyle+xml"/>
  <Override PartName="/ppt/tags/tag147.xml" ContentType="application/vnd.openxmlformats-officedocument.presentationml.tags+xml"/>
  <Override PartName="/ppt/notesSlides/notesSlide62.xml" ContentType="application/vnd.openxmlformats-officedocument.presentationml.notesSlide+xml"/>
  <Override PartName="/ppt/charts/chart109.xml" ContentType="application/vnd.openxmlformats-officedocument.drawingml.chart+xml"/>
  <Override PartName="/ppt/charts/style31.xml" ContentType="application/vnd.ms-office.chartstyle+xml"/>
  <Override PartName="/ppt/charts/colors31.xml" ContentType="application/vnd.ms-office.chartcolorstyle+xml"/>
  <Override PartName="/ppt/tags/tag148.xml" ContentType="application/vnd.openxmlformats-officedocument.presentationml.tags+xml"/>
  <Override PartName="/ppt/notesSlides/notesSlide63.xml" ContentType="application/vnd.openxmlformats-officedocument.presentationml.notesSlide+xml"/>
  <Override PartName="/ppt/charts/chart110.xml" ContentType="application/vnd.openxmlformats-officedocument.drawingml.chart+xml"/>
  <Override PartName="/ppt/charts/style32.xml" ContentType="application/vnd.ms-office.chartstyle+xml"/>
  <Override PartName="/ppt/charts/colors32.xml" ContentType="application/vnd.ms-office.chartcolorstyle+xml"/>
  <Override PartName="/ppt/tags/tag149.xml" ContentType="application/vnd.openxmlformats-officedocument.presentationml.tags+xml"/>
  <Override PartName="/ppt/notesSlides/notesSlide64.xml" ContentType="application/vnd.openxmlformats-officedocument.presentationml.notesSlide+xml"/>
  <Override PartName="/ppt/charts/chart111.xml" ContentType="application/vnd.openxmlformats-officedocument.drawingml.chart+xml"/>
  <Override PartName="/ppt/charts/style33.xml" ContentType="application/vnd.ms-office.chartstyle+xml"/>
  <Override PartName="/ppt/charts/colors33.xml" ContentType="application/vnd.ms-office.chartcolorstyle+xml"/>
  <Override PartName="/ppt/tags/tag150.xml" ContentType="application/vnd.openxmlformats-officedocument.presentationml.tags+xml"/>
  <Override PartName="/ppt/notesSlides/notesSlide65.xml" ContentType="application/vnd.openxmlformats-officedocument.presentationml.notesSlide+xml"/>
  <Override PartName="/ppt/charts/chart112.xml" ContentType="application/vnd.openxmlformats-officedocument.drawingml.chart+xml"/>
  <Override PartName="/ppt/charts/style34.xml" ContentType="application/vnd.ms-office.chartstyle+xml"/>
  <Override PartName="/ppt/charts/colors34.xml" ContentType="application/vnd.ms-office.chartcolorstyle+xml"/>
  <Override PartName="/ppt/tags/tag151.xml" ContentType="application/vnd.openxmlformats-officedocument.presentationml.tags+xml"/>
  <Override PartName="/ppt/notesSlides/notesSlide66.xml" ContentType="application/vnd.openxmlformats-officedocument.presentationml.notesSlide+xml"/>
  <Override PartName="/ppt/charts/chart113.xml" ContentType="application/vnd.openxmlformats-officedocument.drawingml.chart+xml"/>
  <Override PartName="/ppt/charts/style35.xml" ContentType="application/vnd.ms-office.chartstyle+xml"/>
  <Override PartName="/ppt/charts/colors35.xml" ContentType="application/vnd.ms-office.chartcolorstyle+xml"/>
  <Override PartName="/ppt/tags/tag152.xml" ContentType="application/vnd.openxmlformats-officedocument.presentationml.tags+xml"/>
  <Override PartName="/ppt/charts/chart114.xml" ContentType="application/vnd.openxmlformats-officedocument.drawingml.chart+xml"/>
  <Override PartName="/ppt/tags/tag153.xml" ContentType="application/vnd.openxmlformats-officedocument.presentationml.tags+xml"/>
  <Override PartName="/ppt/charts/chart115.xml" ContentType="application/vnd.openxmlformats-officedocument.drawingml.chart+xml"/>
  <Override PartName="/ppt/tags/tag154.xml" ContentType="application/vnd.openxmlformats-officedocument.presentationml.tags+xml"/>
  <Override PartName="/ppt/charts/chart116.xml" ContentType="application/vnd.openxmlformats-officedocument.drawingml.chart+xml"/>
  <Override PartName="/ppt/tags/tag155.xml" ContentType="application/vnd.openxmlformats-officedocument.presentationml.tags+xml"/>
  <Override PartName="/ppt/charts/chart117.xml" ContentType="application/vnd.openxmlformats-officedocument.drawingml.chart+xml"/>
  <Override PartName="/ppt/tags/tag156.xml" ContentType="application/vnd.openxmlformats-officedocument.presentationml.tags+xml"/>
  <Override PartName="/ppt/charts/chart118.xml" ContentType="application/vnd.openxmlformats-officedocument.drawingml.chart+xml"/>
  <Override PartName="/ppt/tags/tag157.xml" ContentType="application/vnd.openxmlformats-officedocument.presentationml.tags+xml"/>
  <Override PartName="/ppt/charts/chart119.xml" ContentType="application/vnd.openxmlformats-officedocument.drawingml.chart+xml"/>
  <Override PartName="/ppt/tags/tag158.xml" ContentType="application/vnd.openxmlformats-officedocument.presentationml.tags+xml"/>
  <Override PartName="/ppt/charts/chart120.xml" ContentType="application/vnd.openxmlformats-officedocument.drawingml.chart+xml"/>
  <Override PartName="/ppt/tags/tag159.xml" ContentType="application/vnd.openxmlformats-officedocument.presentationml.tags+xml"/>
  <Override PartName="/ppt/charts/chart121.xml" ContentType="application/vnd.openxmlformats-officedocument.drawingml.chart+xml"/>
  <Override PartName="/ppt/tags/tag160.xml" ContentType="application/vnd.openxmlformats-officedocument.presentationml.tags+xml"/>
  <Override PartName="/ppt/charts/chart122.xml" ContentType="application/vnd.openxmlformats-officedocument.drawingml.chart+xml"/>
  <Override PartName="/ppt/tags/tag161.xml" ContentType="application/vnd.openxmlformats-officedocument.presentationml.tags+xml"/>
  <Override PartName="/ppt/charts/chart123.xml" ContentType="application/vnd.openxmlformats-officedocument.drawingml.chart+xml"/>
  <Override PartName="/ppt/tags/tag162.xml" ContentType="application/vnd.openxmlformats-officedocument.presentationml.tags+xml"/>
  <Override PartName="/ppt/charts/chart124.xml" ContentType="application/vnd.openxmlformats-officedocument.drawingml.chart+xml"/>
  <Override PartName="/ppt/tags/tag163.xml" ContentType="application/vnd.openxmlformats-officedocument.presentationml.tags+xml"/>
  <Override PartName="/ppt/charts/chart125.xml" ContentType="application/vnd.openxmlformats-officedocument.drawingml.chart+xml"/>
  <Override PartName="/ppt/tags/tag164.xml" ContentType="application/vnd.openxmlformats-officedocument.presentationml.tags+xml"/>
  <Override PartName="/ppt/charts/chart126.xml" ContentType="application/vnd.openxmlformats-officedocument.drawingml.chart+xml"/>
  <Override PartName="/ppt/tags/tag165.xml" ContentType="application/vnd.openxmlformats-officedocument.presentationml.tags+xml"/>
  <Override PartName="/ppt/charts/chart127.xml" ContentType="application/vnd.openxmlformats-officedocument.drawingml.chart+xml"/>
  <Override PartName="/ppt/tags/tag166.xml" ContentType="application/vnd.openxmlformats-officedocument.presentationml.tags+xml"/>
  <Override PartName="/ppt/charts/chart128.xml" ContentType="application/vnd.openxmlformats-officedocument.drawingml.chart+xml"/>
  <Override PartName="/ppt/tags/tag167.xml" ContentType="application/vnd.openxmlformats-officedocument.presentationml.tags+xml"/>
  <Override PartName="/ppt/charts/chart129.xml" ContentType="application/vnd.openxmlformats-officedocument.drawingml.chart+xml"/>
  <Override PartName="/ppt/tags/tag168.xml" ContentType="application/vnd.openxmlformats-officedocument.presentationml.tags+xml"/>
  <Override PartName="/ppt/charts/chart130.xml" ContentType="application/vnd.openxmlformats-officedocument.drawingml.chart+xml"/>
  <Override PartName="/ppt/tags/tag169.xml" ContentType="application/vnd.openxmlformats-officedocument.presentationml.tags+xml"/>
  <Override PartName="/ppt/charts/chart131.xml" ContentType="application/vnd.openxmlformats-officedocument.drawingml.chart+xml"/>
  <Override PartName="/ppt/tags/tag170.xml" ContentType="application/vnd.openxmlformats-officedocument.presentationml.tags+xml"/>
  <Override PartName="/ppt/charts/chart132.xml" ContentType="application/vnd.openxmlformats-officedocument.drawingml.chart+xml"/>
  <Override PartName="/ppt/tags/tag171.xml" ContentType="application/vnd.openxmlformats-officedocument.presentationml.tags+xml"/>
  <Override PartName="/ppt/charts/chart133.xml" ContentType="application/vnd.openxmlformats-officedocument.drawingml.chart+xml"/>
  <Override PartName="/ppt/tags/tag172.xml" ContentType="application/vnd.openxmlformats-officedocument.presentationml.tags+xml"/>
  <Override PartName="/ppt/charts/chart134.xml" ContentType="application/vnd.openxmlformats-officedocument.drawingml.chart+xml"/>
  <Override PartName="/ppt/tags/tag173.xml" ContentType="application/vnd.openxmlformats-officedocument.presentationml.tags+xml"/>
  <Override PartName="/ppt/charts/chart135.xml" ContentType="application/vnd.openxmlformats-officedocument.drawingml.chart+xml"/>
  <Override PartName="/ppt/tags/tag174.xml" ContentType="application/vnd.openxmlformats-officedocument.presentationml.tags+xml"/>
  <Override PartName="/ppt/charts/chart136.xml" ContentType="application/vnd.openxmlformats-officedocument.drawingml.chart+xml"/>
  <Override PartName="/ppt/tags/tag175.xml" ContentType="application/vnd.openxmlformats-officedocument.presentationml.tags+xml"/>
  <Override PartName="/ppt/charts/chart137.xml" ContentType="application/vnd.openxmlformats-officedocument.drawingml.chart+xml"/>
  <Override PartName="/ppt/tags/tag176.xml" ContentType="application/vnd.openxmlformats-officedocument.presentationml.tags+xml"/>
  <Override PartName="/ppt/charts/chart138.xml" ContentType="application/vnd.openxmlformats-officedocument.drawingml.chart+xml"/>
  <Override PartName="/ppt/tags/tag177.xml" ContentType="application/vnd.openxmlformats-officedocument.presentationml.tags+xml"/>
  <Override PartName="/ppt/charts/chart139.xml" ContentType="application/vnd.openxmlformats-officedocument.drawingml.chart+xml"/>
  <Override PartName="/ppt/tags/tag178.xml" ContentType="application/vnd.openxmlformats-officedocument.presentationml.tags+xml"/>
  <Override PartName="/ppt/charts/chart140.xml" ContentType="application/vnd.openxmlformats-officedocument.drawingml.chart+xml"/>
  <Override PartName="/ppt/tags/tag179.xml" ContentType="application/vnd.openxmlformats-officedocument.presentationml.tags+xml"/>
  <Override PartName="/ppt/charts/chart141.xml" ContentType="application/vnd.openxmlformats-officedocument.drawingml.chart+xml"/>
  <Override PartName="/ppt/tags/tag180.xml" ContentType="application/vnd.openxmlformats-officedocument.presentationml.tags+xml"/>
  <Override PartName="/ppt/charts/chart142.xml" ContentType="application/vnd.openxmlformats-officedocument.drawingml.chart+xml"/>
  <Override PartName="/ppt/tags/tag181.xml" ContentType="application/vnd.openxmlformats-officedocument.presentationml.tags+xml"/>
  <Override PartName="/ppt/charts/chart143.xml" ContentType="application/vnd.openxmlformats-officedocument.drawingml.chart+xml"/>
  <Override PartName="/ppt/tags/tag182.xml" ContentType="application/vnd.openxmlformats-officedocument.presentationml.tags+xml"/>
  <Override PartName="/ppt/charts/chart144.xml" ContentType="application/vnd.openxmlformats-officedocument.drawingml.chart+xml"/>
  <Override PartName="/ppt/tags/tag183.xml" ContentType="application/vnd.openxmlformats-officedocument.presentationml.tags+xml"/>
  <Override PartName="/ppt/charts/chart145.xml" ContentType="application/vnd.openxmlformats-officedocument.drawingml.chart+xml"/>
  <Override PartName="/ppt/tags/tag184.xml" ContentType="application/vnd.openxmlformats-officedocument.presentationml.tags+xml"/>
  <Override PartName="/ppt/charts/chart146.xml" ContentType="application/vnd.openxmlformats-officedocument.drawingml.chart+xml"/>
  <Override PartName="/ppt/tags/tag185.xml" ContentType="application/vnd.openxmlformats-officedocument.presentationml.tags+xml"/>
  <Override PartName="/ppt/charts/chart14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148.xml" ContentType="application/vnd.openxmlformats-officedocument.drawingml.chart+xml"/>
  <Override PartName="/ppt/charts/style37.xml" ContentType="application/vnd.ms-office.chartstyle+xml"/>
  <Override PartName="/ppt/charts/colors37.xml" ContentType="application/vnd.ms-office.chartcolorstyle+xml"/>
  <Override PartName="/ppt/tags/tag186.xml" ContentType="application/vnd.openxmlformats-officedocument.presentationml.tags+xml"/>
  <Override PartName="/ppt/charts/chart149.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150.xml" ContentType="application/vnd.openxmlformats-officedocument.drawingml.chart+xml"/>
  <Override PartName="/ppt/charts/style39.xml" ContentType="application/vnd.ms-office.chartstyle+xml"/>
  <Override PartName="/ppt/charts/colors39.xml" ContentType="application/vnd.ms-office.chartcolorstyle+xml"/>
  <Override PartName="/ppt/tags/tag187.xml" ContentType="application/vnd.openxmlformats-officedocument.presentationml.tags+xml"/>
  <Override PartName="/ppt/charts/chart151.xml" ContentType="application/vnd.openxmlformats-officedocument.drawingml.chart+xml"/>
  <Override PartName="/ppt/tags/tag188.xml" ContentType="application/vnd.openxmlformats-officedocument.presentationml.tags+xml"/>
  <Override PartName="/ppt/charts/chart152.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153.xml" ContentType="application/vnd.openxmlformats-officedocument.drawingml.chart+xml"/>
  <Override PartName="/ppt/charts/style41.xml" ContentType="application/vnd.ms-office.chartstyle+xml"/>
  <Override PartName="/ppt/charts/colors41.xml" ContentType="application/vnd.ms-office.chartcolorstyle+xml"/>
  <Override PartName="/ppt/tags/tag189.xml" ContentType="application/vnd.openxmlformats-officedocument.presentationml.tags+xml"/>
  <Override PartName="/ppt/charts/chart154.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155.xml" ContentType="application/vnd.openxmlformats-officedocument.drawingml.chart+xml"/>
  <Override PartName="/ppt/charts/style43.xml" ContentType="application/vnd.ms-office.chartstyle+xml"/>
  <Override PartName="/ppt/charts/colors43.xml" ContentType="application/vnd.ms-office.chartcolorstyle+xml"/>
  <Override PartName="/ppt/tags/tag190.xml" ContentType="application/vnd.openxmlformats-officedocument.presentationml.tags+xml"/>
  <Override PartName="/ppt/charts/chart156.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157.xml" ContentType="application/vnd.openxmlformats-officedocument.drawingml.chart+xml"/>
  <Override PartName="/ppt/charts/style45.xml" ContentType="application/vnd.ms-office.chartstyle+xml"/>
  <Override PartName="/ppt/charts/colors45.xml" ContentType="application/vnd.ms-office.chartcolorstyle+xml"/>
  <Override PartName="/ppt/tags/tag191.xml" ContentType="application/vnd.openxmlformats-officedocument.presentationml.tags+xml"/>
  <Override PartName="/ppt/charts/chart158.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59.xml" ContentType="application/vnd.openxmlformats-officedocument.drawingml.chart+xml"/>
  <Override PartName="/ppt/charts/style47.xml" ContentType="application/vnd.ms-office.chartstyle+xml"/>
  <Override PartName="/ppt/charts/colors47.xml" ContentType="application/vnd.ms-office.chartcolorstyle+xml"/>
  <Override PartName="/ppt/tags/tag192.xml" ContentType="application/vnd.openxmlformats-officedocument.presentationml.tags+xml"/>
  <Override PartName="/ppt/charts/chart160.xml" ContentType="application/vnd.openxmlformats-officedocument.drawingml.chart+xml"/>
  <Override PartName="/ppt/tags/tag193.xml" ContentType="application/vnd.openxmlformats-officedocument.presentationml.tags+xml"/>
  <Override PartName="/ppt/charts/chart161.xml" ContentType="application/vnd.openxmlformats-officedocument.drawingml.chart+xml"/>
  <Override PartName="/ppt/tags/tag194.xml" ContentType="application/vnd.openxmlformats-officedocument.presentationml.tags+xml"/>
  <Override PartName="/ppt/charts/chart162.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63.xml" ContentType="application/vnd.openxmlformats-officedocument.drawingml.chart+xml"/>
  <Override PartName="/ppt/charts/style49.xml" ContentType="application/vnd.ms-office.chartstyle+xml"/>
  <Override PartName="/ppt/charts/colors49.xml" ContentType="application/vnd.ms-office.chartcolorstyle+xml"/>
  <Override PartName="/ppt/tags/tag195.xml" ContentType="application/vnd.openxmlformats-officedocument.presentationml.tags+xml"/>
  <Override PartName="/ppt/charts/chart164.xml" ContentType="application/vnd.openxmlformats-officedocument.drawingml.chart+xml"/>
  <Override PartName="/ppt/tags/tag196.xml" ContentType="application/vnd.openxmlformats-officedocument.presentationml.tags+xml"/>
  <Override PartName="/ppt/charts/chart16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66.xml" ContentType="application/vnd.openxmlformats-officedocument.drawingml.chart+xml"/>
  <Override PartName="/ppt/charts/style51.xml" ContentType="application/vnd.ms-office.chartstyle+xml"/>
  <Override PartName="/ppt/charts/colors51.xml" ContentType="application/vnd.ms-office.chartcolorstyle+xml"/>
  <Override PartName="/ppt/tags/tag197.xml" ContentType="application/vnd.openxmlformats-officedocument.presentationml.tags+xml"/>
  <Override PartName="/ppt/charts/chart167.xml" ContentType="application/vnd.openxmlformats-officedocument.drawingml.chart+xml"/>
  <Override PartName="/ppt/tags/tag198.xml" ContentType="application/vnd.openxmlformats-officedocument.presentationml.tags+xml"/>
  <Override PartName="/ppt/charts/chart168.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169.xml" ContentType="application/vnd.openxmlformats-officedocument.drawingml.chart+xml"/>
  <Override PartName="/ppt/charts/style53.xml" ContentType="application/vnd.ms-office.chartstyle+xml"/>
  <Override PartName="/ppt/charts/colors53.xml" ContentType="application/vnd.ms-office.chartcolorstyle+xml"/>
  <Override PartName="/ppt/tags/tag199.xml" ContentType="application/vnd.openxmlformats-officedocument.presentationml.tags+xml"/>
  <Override PartName="/ppt/charts/chart170.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71.xml" ContentType="application/vnd.openxmlformats-officedocument.drawingml.chart+xml"/>
  <Override PartName="/ppt/charts/style55.xml" ContentType="application/vnd.ms-office.chartstyle+xml"/>
  <Override PartName="/ppt/charts/colors55.xml" ContentType="application/vnd.ms-office.chartcolorstyle+xml"/>
  <Override PartName="/ppt/tags/tag200.xml" ContentType="application/vnd.openxmlformats-officedocument.presentationml.tags+xml"/>
  <Override PartName="/ppt/charts/chart172.xml" ContentType="application/vnd.openxmlformats-officedocument.drawingml.chart+xml"/>
  <Override PartName="/ppt/tags/tag201.xml" ContentType="application/vnd.openxmlformats-officedocument.presentationml.tags+xml"/>
  <Override PartName="/ppt/charts/chart173.xml" ContentType="application/vnd.openxmlformats-officedocument.drawingml.chart+xml"/>
  <Override PartName="/ppt/tags/tag202.xml" ContentType="application/vnd.openxmlformats-officedocument.presentationml.tags+xml"/>
  <Override PartName="/ppt/charts/chart174.xml" ContentType="application/vnd.openxmlformats-officedocument.drawingml.chart+xml"/>
  <Override PartName="/ppt/tags/tag203.xml" ContentType="application/vnd.openxmlformats-officedocument.presentationml.tags+xml"/>
  <Override PartName="/ppt/charts/chart175.xml" ContentType="application/vnd.openxmlformats-officedocument.drawingml.chart+xml"/>
  <Override PartName="/ppt/tags/tag204.xml" ContentType="application/vnd.openxmlformats-officedocument.presentationml.tags+xml"/>
  <Override PartName="/ppt/charts/chart17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177.xml" ContentType="application/vnd.openxmlformats-officedocument.drawingml.chart+xml"/>
  <Override PartName="/ppt/charts/style57.xml" ContentType="application/vnd.ms-office.chartstyle+xml"/>
  <Override PartName="/ppt/charts/colors57.xml" ContentType="application/vnd.ms-office.chartcolorstyle+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181.xml" ContentType="application/vnd.openxmlformats-officedocument.drawingml.chart+xml"/>
  <Override PartName="/ppt/tags/tag208.xml" ContentType="application/vnd.openxmlformats-officedocument.presentationml.tags+xml"/>
  <Override PartName="/ppt/charts/chart18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183.xml" ContentType="application/vnd.openxmlformats-officedocument.drawingml.chart+xml"/>
  <Override PartName="/ppt/tags/tag209.xml" ContentType="application/vnd.openxmlformats-officedocument.presentationml.tags+xml"/>
  <Override PartName="/ppt/charts/chart184.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185.xml" ContentType="application/vnd.openxmlformats-officedocument.drawingml.chart+xml"/>
  <Override PartName="/ppt/tags/tag210.xml" ContentType="application/vnd.openxmlformats-officedocument.presentationml.tags+xml"/>
  <Override PartName="/ppt/charts/chart186.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187.xml" ContentType="application/vnd.openxmlformats-officedocument.drawingml.chart+xml"/>
  <Override PartName="/ppt/tags/tag211.xml" ContentType="application/vnd.openxmlformats-officedocument.presentationml.tags+xml"/>
  <Override PartName="/ppt/charts/chart188.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189.xml" ContentType="application/vnd.openxmlformats-officedocument.drawingml.chart+xml"/>
  <Override PartName="/ppt/tags/tag212.xml" ContentType="application/vnd.openxmlformats-officedocument.presentationml.tags+xml"/>
  <Override PartName="/ppt/charts/chart190.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191.xml" ContentType="application/vnd.openxmlformats-officedocument.drawingml.chart+xml"/>
  <Override PartName="/ppt/tags/tag213.xml" ContentType="application/vnd.openxmlformats-officedocument.presentationml.tags+xml"/>
  <Override PartName="/ppt/charts/chart19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193.xml" ContentType="application/vnd.openxmlformats-officedocument.drawingml.chart+xml"/>
  <Override PartName="/ppt/tags/tag214.xml" ContentType="application/vnd.openxmlformats-officedocument.presentationml.tags+xml"/>
  <Override PartName="/ppt/charts/chart194.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195.xml" ContentType="application/vnd.openxmlformats-officedocument.drawingml.chart+xml"/>
  <Override PartName="/ppt/tags/tag215.xml" ContentType="application/vnd.openxmlformats-officedocument.presentationml.tags+xml"/>
  <Override PartName="/ppt/charts/chart19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197.xml" ContentType="application/vnd.openxmlformats-officedocument.drawingml.chart+xml"/>
  <Override PartName="/ppt/tags/tag216.xml" ContentType="application/vnd.openxmlformats-officedocument.presentationml.tags+xml"/>
  <Override PartName="/ppt/charts/chart198.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99.xml" ContentType="application/vnd.openxmlformats-officedocument.drawingml.chart+xml"/>
  <Override PartName="/ppt/tags/tag217.xml" ContentType="application/vnd.openxmlformats-officedocument.presentationml.tags+xml"/>
  <Override PartName="/ppt/charts/chart200.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201.xml" ContentType="application/vnd.openxmlformats-officedocument.drawingml.chart+xml"/>
  <Override PartName="/ppt/tags/tag218.xml" ContentType="application/vnd.openxmlformats-officedocument.presentationml.tags+xml"/>
  <Override PartName="/ppt/charts/chart202.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203.xml" ContentType="application/vnd.openxmlformats-officedocument.drawingml.chart+xml"/>
  <Override PartName="/ppt/tags/tag219.xml" ContentType="application/vnd.openxmlformats-officedocument.presentationml.tags+xml"/>
  <Override PartName="/ppt/charts/chart20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205.xml" ContentType="application/vnd.openxmlformats-officedocument.drawingml.chart+xml"/>
  <Override PartName="/ppt/tags/tag220.xml" ContentType="application/vnd.openxmlformats-officedocument.presentationml.tags+xml"/>
  <Override PartName="/ppt/charts/chart206.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207.xml" ContentType="application/vnd.openxmlformats-officedocument.drawingml.chart+xml"/>
  <Override PartName="/ppt/tags/tag221.xml" ContentType="application/vnd.openxmlformats-officedocument.presentationml.tags+xml"/>
  <Override PartName="/ppt/charts/chart208.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209.xml" ContentType="application/vnd.openxmlformats-officedocument.drawingml.chart+xml"/>
  <Override PartName="/ppt/tags/tag222.xml" ContentType="application/vnd.openxmlformats-officedocument.presentationml.tags+xml"/>
  <Override PartName="/ppt/charts/chart210.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211.xml" ContentType="application/vnd.openxmlformats-officedocument.drawingml.chart+xml"/>
  <Override PartName="/ppt/tags/tag223.xml" ContentType="application/vnd.openxmlformats-officedocument.presentationml.tags+xml"/>
  <Override PartName="/ppt/charts/chart21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213.xml" ContentType="application/vnd.openxmlformats-officedocument.drawingml.chart+xml"/>
  <Override PartName="/ppt/tags/tag224.xml" ContentType="application/vnd.openxmlformats-officedocument.presentationml.tags+xml"/>
  <Override PartName="/ppt/charts/chart21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215.xml" ContentType="application/vnd.openxmlformats-officedocument.drawingml.chart+xml"/>
  <Override PartName="/ppt/tags/tag225.xml" ContentType="application/vnd.openxmlformats-officedocument.presentationml.tags+xml"/>
  <Override PartName="/ppt/charts/chart21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217.xml" ContentType="application/vnd.openxmlformats-officedocument.drawingml.chart+xml"/>
  <Override PartName="/ppt/tags/tag226.xml" ContentType="application/vnd.openxmlformats-officedocument.presentationml.tags+xml"/>
  <Override PartName="/ppt/charts/chart218.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19.xml" ContentType="application/vnd.openxmlformats-officedocument.drawingml.chart+xml"/>
  <Override PartName="/ppt/tags/tag227.xml" ContentType="application/vnd.openxmlformats-officedocument.presentationml.tags+xml"/>
  <Override PartName="/ppt/charts/chart220.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221.xml" ContentType="application/vnd.openxmlformats-officedocument.drawingml.chart+xml"/>
  <Override PartName="/ppt/tags/tag228.xml" ContentType="application/vnd.openxmlformats-officedocument.presentationml.tags+xml"/>
  <Override PartName="/ppt/charts/chart222.xml" ContentType="application/vnd.openxmlformats-officedocument.drawingml.chart+xml"/>
  <Override PartName="/ppt/tags/tag229.xml" ContentType="application/vnd.openxmlformats-officedocument.presentationml.tags+xml"/>
  <Override PartName="/ppt/charts/chart223.xml" ContentType="application/vnd.openxmlformats-officedocument.drawingml.chart+xml"/>
  <Override PartName="/ppt/tags/tag230.xml" ContentType="application/vnd.openxmlformats-officedocument.presentationml.tags+xml"/>
  <Override PartName="/ppt/charts/chart224.xml" ContentType="application/vnd.openxmlformats-officedocument.drawingml.chart+xml"/>
  <Override PartName="/ppt/charts/chart225.xml" ContentType="application/vnd.openxmlformats-officedocument.drawingml.chart+xml"/>
  <Override PartName="/ppt/tags/tag231.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tags/tag232.xml" ContentType="application/vnd.openxmlformats-officedocument.presentationml.tags+xml"/>
  <Override PartName="/ppt/charts/chart228.xml" ContentType="application/vnd.openxmlformats-officedocument.drawingml.chart+xml"/>
  <Override PartName="/ppt/charts/chart229.xml" ContentType="application/vnd.openxmlformats-officedocument.drawingml.chart+xml"/>
  <Override PartName="/ppt/tags/tag233.xml" ContentType="application/vnd.openxmlformats-officedocument.presentationml.tags+xml"/>
  <Override PartName="/ppt/charts/chart230.xml" ContentType="application/vnd.openxmlformats-officedocument.drawingml.chart+xml"/>
  <Override PartName="/ppt/tags/tag234.xml" ContentType="application/vnd.openxmlformats-officedocument.presentationml.tags+xml"/>
  <Override PartName="/ppt/charts/chart231.xml" ContentType="application/vnd.openxmlformats-officedocument.drawingml.chart+xml"/>
  <Override PartName="/ppt/charts/chart232.xml" ContentType="application/vnd.openxmlformats-officedocument.drawingml.chart+xml"/>
  <Override PartName="/ppt/tags/tag235.xml" ContentType="application/vnd.openxmlformats-officedocument.presentationml.tags+xml"/>
  <Override PartName="/ppt/charts/chart233.xml" ContentType="application/vnd.openxmlformats-officedocument.drawingml.chart+xml"/>
  <Override PartName="/ppt/tags/tag236.xml" ContentType="application/vnd.openxmlformats-officedocument.presentationml.tags+xml"/>
  <Override PartName="/ppt/notesSlides/notesSlide67.xml" ContentType="application/vnd.openxmlformats-officedocument.presentationml.notesSlide+xml"/>
  <Override PartName="/ppt/charts/chart234.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35.xml" ContentType="application/vnd.openxmlformats-officedocument.drawingml.chart+xml"/>
  <Override PartName="/ppt/charts/style80.xml" ContentType="application/vnd.ms-office.chartstyle+xml"/>
  <Override PartName="/ppt/charts/colors80.xml" ContentType="application/vnd.ms-office.chartcolorstyle+xml"/>
  <Override PartName="/ppt/tags/tag237.xml" ContentType="application/vnd.openxmlformats-officedocument.presentationml.tags+xml"/>
  <Override PartName="/ppt/notesSlides/notesSlide68.xml" ContentType="application/vnd.openxmlformats-officedocument.presentationml.notesSlide+xml"/>
  <Override PartName="/ppt/charts/chart236.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37.xml" ContentType="application/vnd.openxmlformats-officedocument.drawingml.chart+xml"/>
  <Override PartName="/ppt/tags/tag238.xml" ContentType="application/vnd.openxmlformats-officedocument.presentationml.tags+xml"/>
  <Override PartName="/ppt/notesSlides/notesSlide69.xml" ContentType="application/vnd.openxmlformats-officedocument.presentationml.notesSlide+xml"/>
  <Override PartName="/ppt/charts/chart238.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239.xml" ContentType="application/vnd.openxmlformats-officedocument.drawingml.chart+xml"/>
  <Override PartName="/ppt/tags/tag239.xml" ContentType="application/vnd.openxmlformats-officedocument.presentationml.tags+xml"/>
  <Override PartName="/ppt/notesSlides/notesSlide70.xml" ContentType="application/vnd.openxmlformats-officedocument.presentationml.notesSlide+xml"/>
  <Override PartName="/ppt/charts/chart240.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41.xml" ContentType="application/vnd.openxmlformats-officedocument.drawingml.chart+xml"/>
  <Override PartName="/ppt/charts/style84.xml" ContentType="application/vnd.ms-office.chartstyle+xml"/>
  <Override PartName="/ppt/charts/colors84.xml" ContentType="application/vnd.ms-office.chartcolorstyle+xml"/>
  <Override PartName="/ppt/tags/tag240.xml" ContentType="application/vnd.openxmlformats-officedocument.presentationml.tags+xml"/>
  <Override PartName="/ppt/notesSlides/notesSlide71.xml" ContentType="application/vnd.openxmlformats-officedocument.presentationml.notesSlide+xml"/>
  <Override PartName="/ppt/charts/chart242.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243.xml" ContentType="application/vnd.openxmlformats-officedocument.drawingml.chart+xml"/>
  <Override PartName="/ppt/tags/tag241.xml" ContentType="application/vnd.openxmlformats-officedocument.presentationml.tags+xml"/>
  <Override PartName="/ppt/notesSlides/notesSlide72.xml" ContentType="application/vnd.openxmlformats-officedocument.presentationml.notesSlide+xml"/>
  <Override PartName="/ppt/charts/chart244.xml" ContentType="application/vnd.openxmlformats-officedocument.drawingml.chart+xml"/>
  <Override PartName="/ppt/charts/style86.xml" ContentType="application/vnd.ms-office.chartstyle+xml"/>
  <Override PartName="/ppt/charts/colors86.xml" ContentType="application/vnd.ms-office.chartcolorstyle+xml"/>
  <Override PartName="/ppt/charts/chart245.xml" ContentType="application/vnd.openxmlformats-officedocument.drawingml.chart+xml"/>
  <Override PartName="/ppt/charts/style87.xml" ContentType="application/vnd.ms-office.chartstyle+xml"/>
  <Override PartName="/ppt/charts/colors87.xml" ContentType="application/vnd.ms-office.chartcolorstyle+xml"/>
  <Override PartName="/ppt/tags/tag242.xml" ContentType="application/vnd.openxmlformats-officedocument.presentationml.tags+xml"/>
  <Override PartName="/ppt/notesSlides/notesSlide73.xml" ContentType="application/vnd.openxmlformats-officedocument.presentationml.notesSlide+xml"/>
  <Override PartName="/ppt/charts/chart246.xml" ContentType="application/vnd.openxmlformats-officedocument.drawingml.chart+xml"/>
  <Override PartName="/ppt/charts/style88.xml" ContentType="application/vnd.ms-office.chartstyle+xml"/>
  <Override PartName="/ppt/charts/colors88.xml" ContentType="application/vnd.ms-office.chartcolorstyle+xml"/>
  <Override PartName="/ppt/tags/tag243.xml" ContentType="application/vnd.openxmlformats-officedocument.presentationml.tags+xml"/>
  <Override PartName="/ppt/notesSlides/notesSlide74.xml" ContentType="application/vnd.openxmlformats-officedocument.presentationml.notesSlide+xml"/>
  <Override PartName="/ppt/charts/chart247.xml" ContentType="application/vnd.openxmlformats-officedocument.drawingml.chart+xml"/>
  <Override PartName="/ppt/charts/style89.xml" ContentType="application/vnd.ms-office.chartstyle+xml"/>
  <Override PartName="/ppt/charts/colors89.xml" ContentType="application/vnd.ms-office.chartcolorstyle+xml"/>
  <Override PartName="/ppt/tags/tag244.xml" ContentType="application/vnd.openxmlformats-officedocument.presentationml.tags+xml"/>
  <Override PartName="/ppt/notesSlides/notesSlide75.xml" ContentType="application/vnd.openxmlformats-officedocument.presentationml.notesSlide+xml"/>
  <Override PartName="/ppt/charts/chart248.xml" ContentType="application/vnd.openxmlformats-officedocument.drawingml.chart+xml"/>
  <Override PartName="/ppt/charts/style90.xml" ContentType="application/vnd.ms-office.chartstyle+xml"/>
  <Override PartName="/ppt/charts/colors90.xml" ContentType="application/vnd.ms-office.chartcolorstyle+xml"/>
  <Override PartName="/ppt/charts/chart249.xml" ContentType="application/vnd.openxmlformats-officedocument.drawingml.chart+xml"/>
  <Override PartName="/ppt/tags/tag245.xml" ContentType="application/vnd.openxmlformats-officedocument.presentationml.tags+xml"/>
  <Override PartName="/ppt/notesSlides/notesSlide76.xml" ContentType="application/vnd.openxmlformats-officedocument.presentationml.notesSlide+xml"/>
  <Override PartName="/ppt/charts/chart250.xml" ContentType="application/vnd.openxmlformats-officedocument.drawingml.chart+xml"/>
  <Override PartName="/ppt/charts/style91.xml" ContentType="application/vnd.ms-office.chartstyle+xml"/>
  <Override PartName="/ppt/charts/colors91.xml" ContentType="application/vnd.ms-office.chartcolorstyle+xml"/>
  <Override PartName="/ppt/tags/tag246.xml" ContentType="application/vnd.openxmlformats-officedocument.presentationml.tags+xml"/>
  <Override PartName="/ppt/notesSlides/notesSlide77.xml" ContentType="application/vnd.openxmlformats-officedocument.presentationml.notesSlide+xml"/>
  <Override PartName="/ppt/charts/chart251.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252.xml" ContentType="application/vnd.openxmlformats-officedocument.drawingml.chart+xml"/>
  <Override PartName="/ppt/charts/style93.xml" ContentType="application/vnd.ms-office.chartstyle+xml"/>
  <Override PartName="/ppt/charts/colors93.xml" ContentType="application/vnd.ms-office.chartcolorstyle+xml"/>
  <Override PartName="/ppt/tags/tag247.xml" ContentType="application/vnd.openxmlformats-officedocument.presentationml.tags+xml"/>
  <Override PartName="/ppt/notesSlides/notesSlide78.xml" ContentType="application/vnd.openxmlformats-officedocument.presentationml.notesSlide+xml"/>
  <Override PartName="/ppt/charts/chart253.xml" ContentType="application/vnd.openxmlformats-officedocument.drawingml.chart+xml"/>
  <Override PartName="/ppt/charts/style94.xml" ContentType="application/vnd.ms-office.chartstyle+xml"/>
  <Override PartName="/ppt/charts/colors94.xml" ContentType="application/vnd.ms-office.chartcolorstyle+xml"/>
  <Override PartName="/ppt/tags/tag248.xml" ContentType="application/vnd.openxmlformats-officedocument.presentationml.tags+xml"/>
  <Override PartName="/ppt/notesSlides/notesSlide79.xml" ContentType="application/vnd.openxmlformats-officedocument.presentationml.notesSlide+xml"/>
  <Override PartName="/ppt/charts/chart254.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55.xml" ContentType="application/vnd.openxmlformats-officedocument.drawingml.chart+xml"/>
  <Override PartName="/ppt/tags/tag249.xml" ContentType="application/vnd.openxmlformats-officedocument.presentationml.tags+xml"/>
  <Override PartName="/ppt/notesSlides/notesSlide80.xml" ContentType="application/vnd.openxmlformats-officedocument.presentationml.notesSlide+xml"/>
  <Override PartName="/ppt/charts/chart256.xml" ContentType="application/vnd.openxmlformats-officedocument.drawingml.chart+xml"/>
  <Override PartName="/ppt/charts/style96.xml" ContentType="application/vnd.ms-office.chartstyle+xml"/>
  <Override PartName="/ppt/charts/colors96.xml" ContentType="application/vnd.ms-office.chartcolorstyle+xml"/>
  <Override PartName="/ppt/charts/chart257.xml" ContentType="application/vnd.openxmlformats-officedocument.drawingml.chart+xml"/>
  <Override PartName="/ppt/tags/tag250.xml" ContentType="application/vnd.openxmlformats-officedocument.presentationml.tags+xml"/>
  <Override PartName="/ppt/notesSlides/notesSlide81.xml" ContentType="application/vnd.openxmlformats-officedocument.presentationml.notesSlide+xml"/>
  <Override PartName="/ppt/charts/chart258.xml" ContentType="application/vnd.openxmlformats-officedocument.drawingml.chart+xml"/>
  <Override PartName="/ppt/charts/style97.xml" ContentType="application/vnd.ms-office.chartstyle+xml"/>
  <Override PartName="/ppt/charts/colors97.xml" ContentType="application/vnd.ms-office.chartcolorstyle+xml"/>
  <Override PartName="/ppt/tags/tag251.xml" ContentType="application/vnd.openxmlformats-officedocument.presentationml.tags+xml"/>
  <Override PartName="/ppt/notesSlides/notesSlide82.xml" ContentType="application/vnd.openxmlformats-officedocument.presentationml.notesSlide+xml"/>
  <Override PartName="/ppt/charts/chart259.xml" ContentType="application/vnd.openxmlformats-officedocument.drawingml.chart+xml"/>
  <Override PartName="/ppt/charts/style98.xml" ContentType="application/vnd.ms-office.chartstyle+xml"/>
  <Override PartName="/ppt/charts/colors98.xml" ContentType="application/vnd.ms-office.chartcolorstyle+xml"/>
  <Override PartName="/ppt/tags/tag252.xml" ContentType="application/vnd.openxmlformats-officedocument.presentationml.tags+xml"/>
  <Override PartName="/ppt/notesSlides/notesSlide83.xml" ContentType="application/vnd.openxmlformats-officedocument.presentationml.notesSlide+xml"/>
  <Override PartName="/ppt/charts/chart260.xml" ContentType="application/vnd.openxmlformats-officedocument.drawingml.chart+xml"/>
  <Override PartName="/ppt/charts/style99.xml" ContentType="application/vnd.ms-office.chartstyle+xml"/>
  <Override PartName="/ppt/charts/colors99.xml" ContentType="application/vnd.ms-office.chartcolorstyle+xml"/>
  <Override PartName="/ppt/tags/tag253.xml" ContentType="application/vnd.openxmlformats-officedocument.presentationml.tags+xml"/>
  <Override PartName="/ppt/notesSlides/notesSlide84.xml" ContentType="application/vnd.openxmlformats-officedocument.presentationml.notesSlide+xml"/>
  <Override PartName="/ppt/charts/chart261.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262.xml" ContentType="application/vnd.openxmlformats-officedocument.drawingml.chart+xml"/>
  <Override PartName="/ppt/tags/tag254.xml" ContentType="application/vnd.openxmlformats-officedocument.presentationml.tags+xml"/>
  <Override PartName="/ppt/notesSlides/notesSlide85.xml" ContentType="application/vnd.openxmlformats-officedocument.presentationml.notesSlide+xml"/>
  <Override PartName="/ppt/charts/chart263.xml" ContentType="application/vnd.openxmlformats-officedocument.drawingml.chart+xml"/>
  <Override PartName="/ppt/tags/tag255.xml" ContentType="application/vnd.openxmlformats-officedocument.presentationml.tags+xml"/>
  <Override PartName="/ppt/notesSlides/notesSlide86.xml" ContentType="application/vnd.openxmlformats-officedocument.presentationml.notesSlide+xml"/>
  <Override PartName="/ppt/charts/chart264.xml" ContentType="application/vnd.openxmlformats-officedocument.drawingml.chart+xml"/>
  <Override PartName="/ppt/charts/style101.xml" ContentType="application/vnd.ms-office.chartstyle+xml"/>
  <Override PartName="/ppt/charts/colors101.xml" ContentType="application/vnd.ms-office.chartcolorstyle+xml"/>
  <Override PartName="/ppt/tags/tag256.xml" ContentType="application/vnd.openxmlformats-officedocument.presentationml.tags+xml"/>
  <Override PartName="/ppt/notesSlides/notesSlide87.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tags/tag257.xml" ContentType="application/vnd.openxmlformats-officedocument.presentationml.tags+xml"/>
  <Override PartName="/ppt/notesSlides/notesSlide88.xml" ContentType="application/vnd.openxmlformats-officedocument.presentationml.notesSlide+xml"/>
  <Override PartName="/ppt/charts/chart267.xml" ContentType="application/vnd.openxmlformats-officedocument.drawingml.chart+xml"/>
  <Override PartName="/ppt/charts/chart268.xml" ContentType="application/vnd.openxmlformats-officedocument.drawingml.chart+xml"/>
  <Override PartName="/ppt/tags/tag258.xml" ContentType="application/vnd.openxmlformats-officedocument.presentationml.tags+xml"/>
  <Override PartName="/ppt/notesSlides/notesSlide89.xml" ContentType="application/vnd.openxmlformats-officedocument.presentationml.notesSlide+xml"/>
  <Override PartName="/ppt/charts/chart269.xml" ContentType="application/vnd.openxmlformats-officedocument.drawingml.chart+xml"/>
  <Override PartName="/ppt/charts/chart270.xml" ContentType="application/vnd.openxmlformats-officedocument.drawingml.chart+xml"/>
  <Override PartName="/ppt/tags/tag259.xml" ContentType="application/vnd.openxmlformats-officedocument.presentationml.tags+xml"/>
  <Override PartName="/ppt/notesSlides/notesSlide90.xml" ContentType="application/vnd.openxmlformats-officedocument.presentationml.notesSlide+xml"/>
  <Override PartName="/ppt/charts/chart271.xml" ContentType="application/vnd.openxmlformats-officedocument.drawingml.chart+xml"/>
  <Override PartName="/ppt/charts/chart272.xml" ContentType="application/vnd.openxmlformats-officedocument.drawingml.chart+xml"/>
  <Override PartName="/ppt/tags/tag260.xml" ContentType="application/vnd.openxmlformats-officedocument.presentationml.tags+xml"/>
  <Override PartName="/ppt/notesSlides/notesSlide91.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tags/tag261.xml" ContentType="application/vnd.openxmlformats-officedocument.presentationml.tags+xml"/>
  <Override PartName="/ppt/notesSlides/notesSlide92.xml" ContentType="application/vnd.openxmlformats-officedocument.presentationml.notesSlide+xml"/>
  <Override PartName="/ppt/charts/chart275.xml" ContentType="application/vnd.openxmlformats-officedocument.drawingml.chart+xml"/>
  <Override PartName="/ppt/charts/chart276.xml" ContentType="application/vnd.openxmlformats-officedocument.drawingml.chart+xml"/>
  <Override PartName="/ppt/tags/tag262.xml" ContentType="application/vnd.openxmlformats-officedocument.presentationml.tags+xml"/>
  <Override PartName="/ppt/notesSlides/notesSlide93.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tags/tag263.xml" ContentType="application/vnd.openxmlformats-officedocument.presentationml.tags+xml"/>
  <Override PartName="/ppt/notesSlides/notesSlide94.xml" ContentType="application/vnd.openxmlformats-officedocument.presentationml.notesSlide+xml"/>
  <Override PartName="/ppt/charts/chart279.xml" ContentType="application/vnd.openxmlformats-officedocument.drawingml.chart+xml"/>
  <Override PartName="/ppt/charts/chart280.xml" ContentType="application/vnd.openxmlformats-officedocument.drawingml.chart+xml"/>
  <Override PartName="/ppt/tags/tag264.xml" ContentType="application/vnd.openxmlformats-officedocument.presentationml.tags+xml"/>
  <Override PartName="/ppt/notesSlides/notesSlide95.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265.xml" ContentType="application/vnd.openxmlformats-officedocument.presentationml.tags+xml"/>
  <Override PartName="/ppt/notesSlides/notesSlide96.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tags/tag266.xml" ContentType="application/vnd.openxmlformats-officedocument.presentationml.tags+xml"/>
  <Override PartName="/ppt/notesSlides/notesSlide97.xml" ContentType="application/vnd.openxmlformats-officedocument.presentationml.notesSlide+xml"/>
  <Override PartName="/ppt/charts/chart285.xml" ContentType="application/vnd.openxmlformats-officedocument.drawingml.chart+xml"/>
  <Override PartName="/ppt/charts/chart286.xml" ContentType="application/vnd.openxmlformats-officedocument.drawingml.chart+xml"/>
  <Override PartName="/ppt/tags/tag267.xml" ContentType="application/vnd.openxmlformats-officedocument.presentationml.tags+xml"/>
  <Override PartName="/ppt/notesSlides/notesSlide98.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tags/tag268.xml" ContentType="application/vnd.openxmlformats-officedocument.presentationml.tags+xml"/>
  <Override PartName="/ppt/notesSlides/notesSlide99.xml" ContentType="application/vnd.openxmlformats-officedocument.presentationml.notesSlide+xml"/>
  <Override PartName="/ppt/tags/tag269.xml" ContentType="application/vnd.openxmlformats-officedocument.presentationml.tags+xml"/>
  <Override PartName="/ppt/notesSlides/notesSlide100.xml" ContentType="application/vnd.openxmlformats-officedocument.presentationml.notesSlide+xml"/>
  <Override PartName="/ppt/tags/tag270.xml" ContentType="application/vnd.openxmlformats-officedocument.presentationml.tags+xml"/>
  <Override PartName="/ppt/notesSlides/notesSlide101.xml" ContentType="application/vnd.openxmlformats-officedocument.presentationml.notesSlide+xml"/>
  <Override PartName="/ppt/tags/tag271.xml" ContentType="application/vnd.openxmlformats-officedocument.presentationml.tags+xml"/>
  <Override PartName="/ppt/notesSlides/notesSlide102.xml" ContentType="application/vnd.openxmlformats-officedocument.presentationml.notesSlide+xml"/>
  <Override PartName="/ppt/tags/tag272.xml" ContentType="application/vnd.openxmlformats-officedocument.presentationml.tags+xml"/>
  <Override PartName="/ppt/notesSlides/notesSlide103.xml" ContentType="application/vnd.openxmlformats-officedocument.presentationml.notesSlide+xml"/>
  <Override PartName="/ppt/charts/chart289.xml" ContentType="application/vnd.openxmlformats-officedocument.drawingml.chart+xml"/>
  <Override PartName="/ppt/charts/style102.xml" ContentType="application/vnd.ms-office.chartstyle+xml"/>
  <Override PartName="/ppt/charts/colors102.xml" ContentType="application/vnd.ms-office.chartcolorstyle+xml"/>
  <Override PartName="/ppt/tags/tag273.xml" ContentType="application/vnd.openxmlformats-officedocument.presentationml.tags+xml"/>
  <Override PartName="/ppt/notesSlides/notesSlide104.xml" ContentType="application/vnd.openxmlformats-officedocument.presentationml.notesSlide+xml"/>
  <Override PartName="/ppt/charts/chart290.xml" ContentType="application/vnd.openxmlformats-officedocument.drawingml.chart+xml"/>
  <Override PartName="/ppt/charts/style103.xml" ContentType="application/vnd.ms-office.chartstyle+xml"/>
  <Override PartName="/ppt/charts/colors103.xml" ContentType="application/vnd.ms-office.chartcolorstyle+xml"/>
  <Override PartName="/ppt/tags/tag274.xml" ContentType="application/vnd.openxmlformats-officedocument.presentationml.tags+xml"/>
  <Override PartName="/ppt/notesSlides/notesSlide105.xml" ContentType="application/vnd.openxmlformats-officedocument.presentationml.notesSlide+xml"/>
  <Override PartName="/ppt/charts/chart291.xml" ContentType="application/vnd.openxmlformats-officedocument.drawingml.chart+xml"/>
  <Override PartName="/ppt/charts/style104.xml" ContentType="application/vnd.ms-office.chartstyle+xml"/>
  <Override PartName="/ppt/charts/colors104.xml" ContentType="application/vnd.ms-office.chartcolorstyle+xml"/>
  <Override PartName="/ppt/tags/tag275.xml" ContentType="application/vnd.openxmlformats-officedocument.presentationml.tags+xml"/>
  <Override PartName="/ppt/notesSlides/notesSlide106.xml" ContentType="application/vnd.openxmlformats-officedocument.presentationml.notesSlide+xml"/>
  <Override PartName="/ppt/charts/chart292.xml" ContentType="application/vnd.openxmlformats-officedocument.drawingml.chart+xml"/>
  <Override PartName="/ppt/charts/style105.xml" ContentType="application/vnd.ms-office.chartstyle+xml"/>
  <Override PartName="/ppt/charts/colors105.xml" ContentType="application/vnd.ms-office.chartcolorstyle+xml"/>
  <Override PartName="/ppt/tags/tag276.xml" ContentType="application/vnd.openxmlformats-officedocument.presentationml.tags+xml"/>
  <Override PartName="/ppt/notesSlides/notesSlide107.xml" ContentType="application/vnd.openxmlformats-officedocument.presentationml.notesSlide+xml"/>
  <Override PartName="/ppt/charts/chart293.xml" ContentType="application/vnd.openxmlformats-officedocument.drawingml.chart+xml"/>
  <Override PartName="/ppt/charts/style106.xml" ContentType="application/vnd.ms-office.chartstyle+xml"/>
  <Override PartName="/ppt/charts/colors106.xml" ContentType="application/vnd.ms-office.chartcolorstyle+xml"/>
  <Override PartName="/ppt/tags/tag277.xml" ContentType="application/vnd.openxmlformats-officedocument.presentationml.tags+xml"/>
  <Override PartName="/ppt/notesSlides/notesSlide108.xml" ContentType="application/vnd.openxmlformats-officedocument.presentationml.notesSlide+xml"/>
  <Override PartName="/ppt/charts/chart294.xml" ContentType="application/vnd.openxmlformats-officedocument.drawingml.chart+xml"/>
  <Override PartName="/ppt/charts/style107.xml" ContentType="application/vnd.ms-office.chartstyle+xml"/>
  <Override PartName="/ppt/charts/colors107.xml" ContentType="application/vnd.ms-office.chartcolorstyle+xml"/>
  <Override PartName="/ppt/tags/tag278.xml" ContentType="application/vnd.openxmlformats-officedocument.presentationml.tags+xml"/>
  <Override PartName="/ppt/charts/chart295.xml" ContentType="application/vnd.openxmlformats-officedocument.drawingml.chart+xml"/>
  <Override PartName="/ppt/tags/tag279.xml" ContentType="application/vnd.openxmlformats-officedocument.presentationml.tags+xml"/>
  <Override PartName="/ppt/charts/chart296.xml" ContentType="application/vnd.openxmlformats-officedocument.drawingml.chart+xml"/>
  <Override PartName="/ppt/tags/tag280.xml" ContentType="application/vnd.openxmlformats-officedocument.presentationml.tags+xml"/>
  <Override PartName="/ppt/charts/chart297.xml" ContentType="application/vnd.openxmlformats-officedocument.drawingml.chart+xml"/>
  <Override PartName="/ppt/tags/tag281.xml" ContentType="application/vnd.openxmlformats-officedocument.presentationml.tags+xml"/>
  <Override PartName="/ppt/charts/chart298.xml" ContentType="application/vnd.openxmlformats-officedocument.drawingml.chart+xml"/>
  <Override PartName="/ppt/tags/tag282.xml" ContentType="application/vnd.openxmlformats-officedocument.presentationml.tags+xml"/>
  <Override PartName="/ppt/charts/chart299.xml" ContentType="application/vnd.openxmlformats-officedocument.drawingml.chart+xml"/>
  <Override PartName="/ppt/tags/tag283.xml" ContentType="application/vnd.openxmlformats-officedocument.presentationml.tags+xml"/>
  <Override PartName="/ppt/charts/chart300.xml" ContentType="application/vnd.openxmlformats-officedocument.drawingml.chart+xml"/>
  <Override PartName="/ppt/tags/tag284.xml" ContentType="application/vnd.openxmlformats-officedocument.presentationml.tags+xml"/>
  <Override PartName="/ppt/charts/chart301.xml" ContentType="application/vnd.openxmlformats-officedocument.drawingml.chart+xml"/>
  <Override PartName="/ppt/tags/tag285.xml" ContentType="application/vnd.openxmlformats-officedocument.presentationml.tags+xml"/>
  <Override PartName="/ppt/charts/chart302.xml" ContentType="application/vnd.openxmlformats-officedocument.drawingml.chart+xml"/>
  <Override PartName="/ppt/tags/tag286.xml" ContentType="application/vnd.openxmlformats-officedocument.presentationml.tags+xml"/>
  <Override PartName="/ppt/charts/chart303.xml" ContentType="application/vnd.openxmlformats-officedocument.drawingml.chart+xml"/>
  <Override PartName="/ppt/tags/tag287.xml" ContentType="application/vnd.openxmlformats-officedocument.presentationml.tags+xml"/>
  <Override PartName="/ppt/charts/chart304.xml" ContentType="application/vnd.openxmlformats-officedocument.drawingml.chart+xml"/>
  <Override PartName="/ppt/tags/tag288.xml" ContentType="application/vnd.openxmlformats-officedocument.presentationml.tags+xml"/>
  <Override PartName="/ppt/charts/chart305.xml" ContentType="application/vnd.openxmlformats-officedocument.drawingml.chart+xml"/>
  <Override PartName="/ppt/tags/tag289.xml" ContentType="application/vnd.openxmlformats-officedocument.presentationml.tags+xml"/>
  <Override PartName="/ppt/charts/chart306.xml" ContentType="application/vnd.openxmlformats-officedocument.drawingml.chart+xml"/>
  <Override PartName="/ppt/tags/tag290.xml" ContentType="application/vnd.openxmlformats-officedocument.presentationml.tags+xml"/>
  <Override PartName="/ppt/notesSlides/notesSlide109.xml" ContentType="application/vnd.openxmlformats-officedocument.presentationml.notesSlide+xml"/>
  <Override PartName="/ppt/charts/chart307.xml" ContentType="application/vnd.openxmlformats-officedocument.drawingml.chart+xml"/>
  <Override PartName="/ppt/charts/style108.xml" ContentType="application/vnd.ms-office.chartstyle+xml"/>
  <Override PartName="/ppt/charts/colors108.xml" ContentType="application/vnd.ms-office.chartcolorstyle+xml"/>
  <Override PartName="/ppt/tags/tag291.xml" ContentType="application/vnd.openxmlformats-officedocument.presentationml.tags+xml"/>
  <Override PartName="/ppt/notesSlides/notesSlide110.xml" ContentType="application/vnd.openxmlformats-officedocument.presentationml.notesSlide+xml"/>
  <Override PartName="/ppt/charts/chart308.xml" ContentType="application/vnd.openxmlformats-officedocument.drawingml.chart+xml"/>
  <Override PartName="/ppt/charts/style109.xml" ContentType="application/vnd.ms-office.chartstyle+xml"/>
  <Override PartName="/ppt/charts/colors109.xml" ContentType="application/vnd.ms-office.chartcolorstyle+xml"/>
  <Override PartName="/ppt/tags/tag292.xml" ContentType="application/vnd.openxmlformats-officedocument.presentationml.tags+xml"/>
  <Override PartName="/ppt/notesSlides/notesSlide111.xml" ContentType="application/vnd.openxmlformats-officedocument.presentationml.notesSlide+xml"/>
  <Override PartName="/ppt/charts/chart309.xml" ContentType="application/vnd.openxmlformats-officedocument.drawingml.chart+xml"/>
  <Override PartName="/ppt/charts/style110.xml" ContentType="application/vnd.ms-office.chartstyle+xml"/>
  <Override PartName="/ppt/charts/colors110.xml" ContentType="application/vnd.ms-office.chartcolorstyle+xml"/>
  <Override PartName="/ppt/tags/tag293.xml" ContentType="application/vnd.openxmlformats-officedocument.presentationml.tags+xml"/>
  <Override PartName="/ppt/notesSlides/notesSlide112.xml" ContentType="application/vnd.openxmlformats-officedocument.presentationml.notesSlide+xml"/>
  <Override PartName="/ppt/charts/chart310.xml" ContentType="application/vnd.openxmlformats-officedocument.drawingml.chart+xml"/>
  <Override PartName="/ppt/charts/style111.xml" ContentType="application/vnd.ms-office.chartstyle+xml"/>
  <Override PartName="/ppt/charts/colors111.xml" ContentType="application/vnd.ms-office.chartcolorstyle+xml"/>
  <Override PartName="/ppt/tags/tag294.xml" ContentType="application/vnd.openxmlformats-officedocument.presentationml.tags+xml"/>
  <Override PartName="/ppt/notesSlides/notesSlide113.xml" ContentType="application/vnd.openxmlformats-officedocument.presentationml.notesSlide+xml"/>
  <Override PartName="/ppt/charts/chart311.xml" ContentType="application/vnd.openxmlformats-officedocument.drawingml.chart+xml"/>
  <Override PartName="/ppt/charts/style112.xml" ContentType="application/vnd.ms-office.chartstyle+xml"/>
  <Override PartName="/ppt/charts/colors112.xml" ContentType="application/vnd.ms-office.chartcolorstyle+xml"/>
  <Override PartName="/ppt/tags/tag295.xml" ContentType="application/vnd.openxmlformats-officedocument.presentationml.tags+xml"/>
  <Override PartName="/ppt/notesSlides/notesSlide114.xml" ContentType="application/vnd.openxmlformats-officedocument.presentationml.notesSlide+xml"/>
  <Override PartName="/ppt/charts/chart312.xml" ContentType="application/vnd.openxmlformats-officedocument.drawingml.chart+xml"/>
  <Override PartName="/ppt/charts/style113.xml" ContentType="application/vnd.ms-office.chartstyle+xml"/>
  <Override PartName="/ppt/charts/colors113.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73"/>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 id="2147475449" r:id="rId260"/>
    <p:sldId id="2147475450" r:id="rId261"/>
    <p:sldId id="2147475451" r:id="rId262"/>
    <p:sldId id="2147475452" r:id="rId263"/>
    <p:sldId id="2147475453" r:id="rId264"/>
    <p:sldId id="2147475454" r:id="rId265"/>
    <p:sldId id="2147475455" r:id="rId266"/>
    <p:sldId id="2147475456" r:id="rId267"/>
    <p:sldId id="2147475457" r:id="rId268"/>
    <p:sldId id="2147475458" r:id="rId269"/>
    <p:sldId id="2147475459" r:id="rId270"/>
    <p:sldId id="2147475460" r:id="rId271"/>
    <p:sldId id="2147475461" r:id="rId27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739CFBF6-0308-4F10-9BFF-7821E1794351}">
          <p14:sldIdLst>
            <p14:sldId id="2147475194"/>
            <p14:sldId id="2147475195"/>
          </p14:sldIdLst>
        </p14:section>
        <p14:section name="Promo Evolution Sector" id="{CBD78F37-9A91-4FA8-BA7A-16ABD090FFB1}">
          <p14:sldIdLst>
            <p14:sldId id="2147475196"/>
            <p14:sldId id="2147475197"/>
            <p14:sldId id="2147475198"/>
            <p14:sldId id="2147475199"/>
          </p14:sldIdLst>
        </p14:section>
        <p14:section name="Promo Evolution Segment" id="{D9ED66F0-E76E-4584-888E-922A5450A808}">
          <p14:sldIdLst>
            <p14:sldId id="2147475200"/>
            <p14:sldId id="2147475201"/>
            <p14:sldId id="2147475202"/>
            <p14:sldId id="2147475203"/>
            <p14:sldId id="2147475204"/>
            <p14:sldId id="2147475205"/>
          </p14:sldIdLst>
        </p14:section>
        <p14:section name="VSOD Summary by Sector Sector" id="{B8934171-417B-4C78-A4C2-0053AAB70EF3}">
          <p14:sldIdLst>
            <p14:sldId id="2147475206"/>
            <p14:sldId id="2147475207"/>
          </p14:sldIdLst>
        </p14:section>
        <p14:section name="VSOD Summary by Sector Segment" id="{BD845970-C8C3-408F-B061-50535FD7A366}">
          <p14:sldIdLst>
            <p14:sldId id="2147475208"/>
            <p14:sldId id="2147475209"/>
          </p14:sldIdLst>
        </p14:section>
        <p14:section name="Value uplift by retailer by brand Category" id="{3E7DDE90-1C72-4BF4-9524-ABA85DF23260}">
          <p14:sldIdLst>
            <p14:sldId id="2147475210"/>
          </p14:sldIdLst>
        </p14:section>
        <p14:section name="Value uplift by retailer by brand Sector" id="{105CCA1D-36F1-43B4-B453-FC63E2C17245}">
          <p14:sldIdLst>
            <p14:sldId id="2147475211"/>
            <p14:sldId id="2147475212"/>
          </p14:sldIdLst>
        </p14:section>
        <p14:section name="Value uplift by retailer by brand Segment" id="{5EC592B8-013C-40FB-ADF8-EED9F48A3CFD}">
          <p14:sldIdLst>
            <p14:sldId id="2147475213"/>
            <p14:sldId id="2147475214"/>
            <p14:sldId id="2147475215"/>
          </p14:sldIdLst>
        </p14:section>
        <p14:section name="Volume Uplift vs discount depth Category" id="{1B1C3178-0937-4D3A-8C40-5BF74C811448}">
          <p14:sldIdLst>
            <p14:sldId id="2147475216"/>
            <p14:sldId id="2147475217"/>
          </p14:sldIdLst>
        </p14:section>
        <p14:section name="Volume Uplift vs discount depth Sector" id="{00850126-9322-4A54-B043-F4CAEC8FD300}">
          <p14:sldIdLst>
            <p14:sldId id="2147475218"/>
            <p14:sldId id="2147475219"/>
            <p14:sldId id="2147475220"/>
            <p14:sldId id="2147475221"/>
          </p14:sldIdLst>
        </p14:section>
        <p14:section name="Volume Uplift vs discount depth Segment" id="{BFFA5F01-0F79-45D8-9508-1EC01EEE627A}">
          <p14:sldIdLst>
            <p14:sldId id="2147475222"/>
            <p14:sldId id="2147475223"/>
            <p14:sldId id="2147475224"/>
            <p14:sldId id="2147475225"/>
            <p14:sldId id="2147475226"/>
            <p14:sldId id="2147475227"/>
          </p14:sldIdLst>
        </p14:section>
        <p14:section name="Value Uplift vs Promo Efficiency Quadrant Category" id="{5AFEBA2B-79EF-420E-B0B8-72F428E57721}">
          <p14:sldIdLst>
            <p14:sldId id="2147475228"/>
            <p14:sldId id="2147475229"/>
          </p14:sldIdLst>
        </p14:section>
        <p14:section name="Value Uplift vs Promo Efficiency Quadrant Sector" id="{EF181EB0-B207-4112-B0EC-0F9B01287573}">
          <p14:sldIdLst>
            <p14:sldId id="2147475230"/>
            <p14:sldId id="2147475231"/>
            <p14:sldId id="2147475232"/>
            <p14:sldId id="2147475233"/>
          </p14:sldIdLst>
        </p14:section>
        <p14:section name="Value Uplift vs Promo Efficiency Quadrant Segment" id="{3F7A0AAC-209A-4E3A-A819-DDEB9FD2ADEB}">
          <p14:sldIdLst>
            <p14:sldId id="2147475234"/>
            <p14:sldId id="2147475235"/>
            <p14:sldId id="2147475236"/>
            <p14:sldId id="2147475237"/>
            <p14:sldId id="2147475238"/>
            <p14:sldId id="2147475239"/>
          </p14:sldIdLst>
        </p14:section>
        <p14:section name="Top 20 promotions Category" id="{3E061BD5-7A5D-4AAE-AF5B-6282BB51074D}">
          <p14:sldIdLst>
            <p14:sldId id="2147475240"/>
            <p14:sldId id="2147475241"/>
          </p14:sldIdLst>
        </p14:section>
        <p14:section name="Top 20 promotions Sector" id="{90A95B21-797F-44EE-807E-1755EFAF5530}">
          <p14:sldIdLst>
            <p14:sldId id="2147475242"/>
            <p14:sldId id="2147475243"/>
            <p14:sldId id="2147475244"/>
            <p14:sldId id="2147475245"/>
          </p14:sldIdLst>
        </p14:section>
        <p14:section name="Top 20 promotions Segment" id="{B8AE0D04-4128-41F6-9950-86692CD168B6}">
          <p14:sldIdLst>
            <p14:sldId id="2147475246"/>
            <p14:sldId id="2147475247"/>
            <p14:sldId id="2147475248"/>
            <p14:sldId id="2147475249"/>
            <p14:sldId id="2147475250"/>
            <p14:sldId id="2147475251"/>
          </p14:sldIdLst>
        </p14:section>
        <p14:section name="Top 20 promotions CLIENT ONLY Category" id="{32FBFCCF-6763-4653-9FE3-8EEDBBA7EB80}">
          <p14:sldIdLst>
            <p14:sldId id="2147475252"/>
            <p14:sldId id="2147475253"/>
          </p14:sldIdLst>
        </p14:section>
        <p14:section name="Top 20 promotions CLIENT ONLY Sector" id="{9320050A-0E48-4BCA-B730-54F167EBE7B1}">
          <p14:sldIdLst>
            <p14:sldId id="2147475254"/>
            <p14:sldId id="2147475255"/>
            <p14:sldId id="2147475256"/>
            <p14:sldId id="2147475257"/>
          </p14:sldIdLst>
        </p14:section>
        <p14:section name="Top 20 promotions CLIENT ONLY Segment" id="{398A6D02-9C5A-4CCF-A58D-440CF9372257}">
          <p14:sldIdLst>
            <p14:sldId id="2147475258"/>
            <p14:sldId id="2147475259"/>
            <p14:sldId id="2147475260"/>
            <p14:sldId id="2147475261"/>
            <p14:sldId id="2147475262"/>
          </p14:sldIdLst>
        </p14:section>
        <p14:section name="Bottom 20 promotions CLIENT ONLY Category" id="{B064BE1E-B22E-4026-B29A-93D4B2784A6C}">
          <p14:sldIdLst>
            <p14:sldId id="2147475263"/>
            <p14:sldId id="2147475264"/>
          </p14:sldIdLst>
        </p14:section>
        <p14:section name="Bottom 20 promotions CLIENT ONLY Sector" id="{3492A8A0-26E0-42A6-B5DB-273A73455B5F}">
          <p14:sldIdLst>
            <p14:sldId id="2147475265"/>
            <p14:sldId id="2147475266"/>
            <p14:sldId id="2147475267"/>
            <p14:sldId id="2147475268"/>
          </p14:sldIdLst>
        </p14:section>
        <p14:section name="Bottom 20 promotions CLIENT ONLY Segment" id="{393A04D9-2D8C-4D07-98FD-542A7DD82776}">
          <p14:sldIdLst>
            <p14:sldId id="2147475269"/>
            <p14:sldId id="2147475270"/>
            <p14:sldId id="2147475271"/>
            <p14:sldId id="2147475272"/>
            <p14:sldId id="2147475273"/>
          </p14:sldIdLst>
        </p14:section>
        <p14:section name="Volume Sold on Deal Sector" id="{F3C36EEE-E4E8-4328-AF1D-51DCE16F1E13}">
          <p14:sldIdLst>
            <p14:sldId id="2147475274"/>
            <p14:sldId id="2147475275"/>
            <p14:sldId id="2147475276"/>
            <p14:sldId id="2147475277"/>
            <p14:sldId id="2147475278"/>
          </p14:sldIdLst>
        </p14:section>
        <p14:section name="Volume Sold on Deal Segment" id="{ED020F04-5CFB-40A1-BE10-7943A33800BA}">
          <p14:sldIdLst>
            <p14:sldId id="2147475279"/>
            <p14:sldId id="2147475280"/>
            <p14:sldId id="2147475281"/>
            <p14:sldId id="2147475282"/>
            <p14:sldId id="2147475283"/>
            <p14:sldId id="2147475284"/>
            <p14:sldId id="2147475285"/>
            <p14:sldId id="2147475286"/>
            <p14:sldId id="2147475287"/>
            <p14:sldId id="2147475288"/>
          </p14:sldIdLst>
        </p14:section>
        <p14:section name="Promo share vs Value Share Category" id="{8C18B656-53E0-4474-88A9-9A8B175A0934}">
          <p14:sldIdLst>
            <p14:sldId id="2147475289"/>
            <p14:sldId id="2147475290"/>
          </p14:sldIdLst>
        </p14:section>
        <p14:section name="Promo share vs Value Share Sector" id="{43F63C7B-C654-4832-A88A-1D5CED4CED26}">
          <p14:sldIdLst>
            <p14:sldId id="2147475291"/>
            <p14:sldId id="2147475292"/>
            <p14:sldId id="2147475293"/>
            <p14:sldId id="2147475294"/>
          </p14:sldIdLst>
        </p14:section>
        <p14:section name="Promo share vs Value Share Segment" id="{5D598D89-49C6-40ED-8DDA-ECC4F4145B8D}">
          <p14:sldIdLst>
            <p14:sldId id="2147475295"/>
            <p14:sldId id="2147475296"/>
            <p14:sldId id="2147475297"/>
            <p14:sldId id="2147475298"/>
            <p14:sldId id="2147475299"/>
            <p14:sldId id="2147475300"/>
          </p14:sldIdLst>
        </p14:section>
        <p14:section name="Promo Sales by total size Category" id="{40442B95-2AFE-4D92-B47D-6A7EDCC7AA1B}">
          <p14:sldIdLst>
            <p14:sldId id="2147475301"/>
          </p14:sldIdLst>
        </p14:section>
        <p14:section name="Promo Sales by total size Sector" id="{F2EB0CF8-9507-474B-A91F-E5CF1974A5C8}">
          <p14:sldIdLst>
            <p14:sldId id="2147475302"/>
            <p14:sldId id="2147475303"/>
          </p14:sldIdLst>
        </p14:section>
        <p14:section name="Promo Sales by total size Segment" id="{41468848-53EF-459C-A7DD-5EC27A4FBBFE}">
          <p14:sldIdLst>
            <p14:sldId id="2147475304"/>
            <p14:sldId id="2147475305"/>
            <p14:sldId id="2147475306"/>
          </p14:sldIdLst>
        </p14:section>
        <p14:section name="Promo Sales by promo type Category" id="{0E1A9D66-2312-4F37-81B3-23938D52E0C5}">
          <p14:sldIdLst>
            <p14:sldId id="2147475307"/>
            <p14:sldId id="2147475308"/>
          </p14:sldIdLst>
        </p14:section>
        <p14:section name="Promo Sales by promo type Sector" id="{05D9EBE4-7D26-4487-B73F-974C34894AB3}">
          <p14:sldIdLst>
            <p14:sldId id="2147475309"/>
            <p14:sldId id="2147475310"/>
            <p14:sldId id="2147475311"/>
            <p14:sldId id="2147475312"/>
          </p14:sldIdLst>
        </p14:section>
        <p14:section name="Promo Sales by promo type Segment" id="{76637698-C2BC-4D07-BBDB-B4E7BA0ECF5D}">
          <p14:sldIdLst>
            <p14:sldId id="2147475313"/>
            <p14:sldId id="2147475314"/>
            <p14:sldId id="2147475315"/>
            <p14:sldId id="2147475316"/>
            <p14:sldId id="2147475317"/>
          </p14:sldIdLst>
        </p14:section>
        <p14:section name="Promo Frequency learnings Category" id="{ECF57F51-3C72-4964-8486-84DB48D69D6A}">
          <p14:sldIdLst>
            <p14:sldId id="2147475318"/>
            <p14:sldId id="2147475319"/>
            <p14:sldId id="2147475320"/>
            <p14:sldId id="2147475321"/>
            <p14:sldId id="2147475322"/>
            <p14:sldId id="2147475323"/>
            <p14:sldId id="2147475324"/>
          </p14:sldIdLst>
        </p14:section>
        <p14:section name="Promo Frequency learnings Sector" id="{5FF39DC2-AD85-450F-90A5-F8AD66349332}">
          <p14:sldIdLst>
            <p14:sldId id="2147475325"/>
            <p14:sldId id="2147475326"/>
            <p14:sldId id="2147475327"/>
            <p14:sldId id="2147475328"/>
            <p14:sldId id="2147475329"/>
            <p14:sldId id="2147475330"/>
            <p14:sldId id="2147475331"/>
            <p14:sldId id="2147475332"/>
            <p14:sldId id="2147475333"/>
            <p14:sldId id="2147475334"/>
            <p14:sldId id="2147475335"/>
          </p14:sldIdLst>
        </p14:section>
        <p14:section name="Promo Frequency learnings Segment" id="{E6C9D2B7-C826-4144-91CD-068A0EFE7248}">
          <p14:sldIdLst>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Lst>
        </p14:section>
        <p14:section name="Promo sales per retailer Category" id="{53730F25-4D37-4F65-AF14-5B814BFAF3D5}">
          <p14:sldIdLst>
            <p14:sldId id="2147475351"/>
            <p14:sldId id="2147475352"/>
            <p14:sldId id="2147475353"/>
            <p14:sldId id="2147475354"/>
          </p14:sldIdLst>
        </p14:section>
        <p14:section name="Promo sales per retailer Sector" id="{A4454046-071E-40F2-BF30-A37F7E09A1A7}">
          <p14:sldIdLst>
            <p14:sldId id="2147475355"/>
            <p14:sldId id="2147475356"/>
            <p14:sldId id="2147475357"/>
            <p14:sldId id="2147475358"/>
            <p14:sldId id="2147475359"/>
            <p14:sldId id="2147475360"/>
            <p14:sldId id="2147475361"/>
          </p14:sldIdLst>
        </p14:section>
        <p14:section name="Promo sales per retailer Segment" id="{695BA6BF-261B-4577-8283-E747587F6DAA}">
          <p14:sldIdLst>
            <p14:sldId id="2147475362"/>
            <p14:sldId id="2147475363"/>
            <p14:sldId id="2147475364"/>
            <p14:sldId id="2147475365"/>
            <p14:sldId id="2147475366"/>
            <p14:sldId id="2147475367"/>
            <p14:sldId id="2147475368"/>
            <p14:sldId id="2147475369"/>
            <p14:sldId id="2147475370"/>
            <p14:sldId id="2147475371"/>
            <p14:sldId id="2147475372"/>
          </p14:sldIdLst>
        </p14:section>
        <p14:section name="Promo sales per retailer SubSegment" id="{38952813-1A26-4C7D-B076-9350889E6A08}">
          <p14:sldIdLst/>
        </p14:section>
        <p14:section name="Value Uplift vs discount depth Category" id="{C9405783-FA82-4139-BFEA-BAF5E6B34A41}">
          <p14:sldIdLst>
            <p14:sldId id="2147475373"/>
            <p14:sldId id="2147475374"/>
            <p14:sldId id="2147475375"/>
            <p14:sldId id="2147475376"/>
            <p14:sldId id="2147475377"/>
          </p14:sldIdLst>
        </p14:section>
        <p14:section name="Value Uplift vs discount depth Sector" id="{2218024B-A462-4194-B99E-B812D3525206}">
          <p14:sldIdLst>
            <p14:sldId id="2147475378"/>
            <p14:sldId id="2147475379"/>
            <p14:sldId id="2147475380"/>
            <p14:sldId id="2147475381"/>
            <p14:sldId id="2147475382"/>
            <p14:sldId id="2147475383"/>
            <p14:sldId id="2147475384"/>
          </p14:sldIdLst>
        </p14:section>
        <p14:section name="Value Uplift vs discount depth Segment" id="{414D7900-2B5B-4E40-B2C3-65E74FC78E24}">
          <p14:sldIdLst>
            <p14:sldId id="2147475385"/>
            <p14:sldId id="2147475386"/>
            <p14:sldId id="2147475387"/>
            <p14:sldId id="2147475388"/>
            <p14:sldId id="2147475389"/>
            <p14:sldId id="2147475390"/>
            <p14:sldId id="2147475391"/>
            <p14:sldId id="2147475392"/>
            <p14:sldId id="2147475393"/>
          </p14:sldIdLst>
        </p14:section>
        <p14:section name="Seasonality Index Category" id="{03200D7A-5548-4EBD-A208-8C4C94AFC6F8}">
          <p14:sldIdLst>
            <p14:sldId id="2147475394"/>
            <p14:sldId id="2147475395"/>
          </p14:sldIdLst>
        </p14:section>
        <p14:section name="Seasonality Index Sector" id="{461DB83E-A44E-4BBD-B9D1-BDA48A05BF6E}">
          <p14:sldIdLst>
            <p14:sldId id="2147475396"/>
            <p14:sldId id="2147475397"/>
          </p14:sldIdLst>
        </p14:section>
        <p14:section name="Seasonality Index Segment" id="{E7113485-8FC6-45B0-8DC9-8C8382CF129D}">
          <p14:sldIdLst>
            <p14:sldId id="2147475398"/>
            <p14:sldId id="2147475399"/>
            <p14:sldId id="2147475400"/>
            <p14:sldId id="2147475401"/>
          </p14:sldIdLst>
        </p14:section>
        <p14:section name="Seasonality Index Subsegment" id="{C2D4150B-1979-447B-97A3-59D3D34558A4}">
          <p14:sldIdLst/>
        </p14:section>
        <p14:section name="Promotional Frequency Analysis Category" id="{99464352-100F-474B-BC04-BFEB96EFE5C5}">
          <p14:sldIdLst>
            <p14:sldId id="2147475402"/>
            <p14:sldId id="2147475403"/>
            <p14:sldId id="2147475404"/>
          </p14:sldIdLst>
        </p14:section>
        <p14:section name="Promotional Frequency Analysis Sector" id="{40DC4EEA-16A4-4FAA-B390-295CF5CA2E7D}">
          <p14:sldIdLst>
            <p14:sldId id="2147475405"/>
            <p14:sldId id="2147475406"/>
            <p14:sldId id="2147475407"/>
            <p14:sldId id="2147475408"/>
            <p14:sldId id="2147475409"/>
            <p14:sldId id="2147475410"/>
            <p14:sldId id="2147475411"/>
          </p14:sldIdLst>
        </p14:section>
        <p14:section name="Promotional Frequency Analysis Segment" id="{5C8F266D-DE50-4DED-9314-7F8DCB985FC1}">
          <p14:sldIdLst>
            <p14:sldId id="2147475412"/>
            <p14:sldId id="2147475413"/>
            <p14:sldId id="2147475414"/>
            <p14:sldId id="2147475415"/>
            <p14:sldId id="2147475416"/>
            <p14:sldId id="2147475417"/>
            <p14:sldId id="2147475418"/>
            <p14:sldId id="2147475419"/>
            <p14:sldId id="2147475420"/>
            <p14:sldId id="2147475421"/>
          </p14:sldIdLst>
        </p14:section>
        <p14:section name="Promotional Frequency Analysis Subsegment" id="{92BD1C7B-1712-4689-98E5-63068E56E313}">
          <p14:sldIdLst/>
        </p14:section>
        <p14:section name="Promo Evolution no client prio Category" id="{3D9B6B07-2EBA-463C-AF9C-6A8CD3728135}">
          <p14:sldIdLst>
            <p14:sldId id="2147475422"/>
            <p14:sldId id="2147475423"/>
          </p14:sldIdLst>
        </p14:section>
        <p14:section name="Promo Evolution no client prio Sector" id="{F1C12845-0F9D-4922-9EAF-4101DBC18ED8}">
          <p14:sldIdLst>
            <p14:sldId id="2147475424"/>
            <p14:sldId id="2147475425"/>
            <p14:sldId id="2147475426"/>
            <p14:sldId id="2147475427"/>
          </p14:sldIdLst>
        </p14:section>
        <p14:section name="Promo Evolution no client prio Segment" id="{6A5F334B-C776-4C2F-8BD0-E6F50A6B96FC}">
          <p14:sldIdLst>
            <p14:sldId id="2147475428"/>
            <p14:sldId id="2147475429"/>
            <p14:sldId id="2147475430"/>
            <p14:sldId id="2147475431"/>
            <p14:sldId id="2147475432"/>
            <p14:sldId id="2147475433"/>
          </p14:sldIdLst>
        </p14:section>
        <p14:section name="VSOD Summary by Sector no client prio Sector" id="{57B43C15-13DB-4D56-98FF-1A32C9DC59A0}">
          <p14:sldIdLst>
            <p14:sldId id="2147475434"/>
            <p14:sldId id="2147475435"/>
          </p14:sldIdLst>
        </p14:section>
        <p14:section name="VSOD Summary by Sector no client prio Segment" id="{093887C9-43E4-45B9-A51D-6DE58EF1E7B4}">
          <p14:sldIdLst>
            <p14:sldId id="2147475436"/>
            <p14:sldId id="2147475437"/>
          </p14:sldIdLst>
        </p14:section>
        <p14:section name="Value uplift by retailer by brand no client prio Category" id="{30A649F2-6E17-4E77-94A6-2310647EDD36}">
          <p14:sldIdLst>
            <p14:sldId id="2147475438"/>
          </p14:sldIdLst>
        </p14:section>
        <p14:section name="Value uplift by retailer by brand no client prio Sector" id="{1FDD2CFB-00C5-4626-B0D8-6D3F9E759174}">
          <p14:sldIdLst>
            <p14:sldId id="2147475439"/>
            <p14:sldId id="2147475440"/>
          </p14:sldIdLst>
        </p14:section>
        <p14:section name="Value uplift by retailer by brand no client prio Segment" id="{7D403FAF-5E32-4A01-99B1-6FB703070D73}">
          <p14:sldIdLst>
            <p14:sldId id="2147475441"/>
            <p14:sldId id="2147475442"/>
            <p14:sldId id="2147475443"/>
          </p14:sldIdLst>
        </p14:section>
        <p14:section name="Promo share vs Value Share no client prio Category" id="{95B26E2E-A673-4F2F-B7C5-EDC73BBDE7DD}">
          <p14:sldIdLst>
            <p14:sldId id="2147475444"/>
            <p14:sldId id="2147475445"/>
          </p14:sldIdLst>
        </p14:section>
        <p14:section name="Promo share vs Value Share no client prio Sector" id="{37757611-0787-43C3-87C0-1DA8C4111B4A}">
          <p14:sldIdLst>
            <p14:sldId id="2147475446"/>
            <p14:sldId id="2147475447"/>
            <p14:sldId id="2147475448"/>
            <p14:sldId id="2147475449"/>
          </p14:sldIdLst>
        </p14:section>
        <p14:section name="Promo share vs Value Share no client prio Segment" id="{009AC245-2C7D-4E09-8758-5E55E5ACC318}">
          <p14:sldIdLst>
            <p14:sldId id="2147475450"/>
            <p14:sldId id="2147475451"/>
            <p14:sldId id="2147475452"/>
            <p14:sldId id="2147475453"/>
            <p14:sldId id="2147475454"/>
            <p14:sldId id="2147475455"/>
          </p14:sldIdLst>
        </p14:section>
        <p14:section name="Promo Sales by total size no client prio Category" id="{93DA93FB-2107-4E76-88B8-ACEEFADD1735}">
          <p14:sldIdLst>
            <p14:sldId id="2147475456"/>
          </p14:sldIdLst>
        </p14:section>
        <p14:section name="Promo Sales by total size no client prio Sector" id="{3F071DAB-3AE9-48E1-BB5C-812571FF9DF7}">
          <p14:sldIdLst>
            <p14:sldId id="2147475457"/>
            <p14:sldId id="2147475458"/>
          </p14:sldIdLst>
        </p14:section>
        <p14:section name="Promo Sales by total size no client prio Segment" id="{660E5249-A948-4641-84CB-D088FA84254C}">
          <p14:sldIdLst>
            <p14:sldId id="2147475459"/>
            <p14:sldId id="2147475460"/>
            <p14:sldId id="214747546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58" Type="http://schemas.openxmlformats.org/officeDocument/2006/relationships/slide" Target="slides/slide254.xml"/><Relationship Id="rId279" Type="http://schemas.microsoft.com/office/2018/10/relationships/authors" Target="author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269" Type="http://schemas.openxmlformats.org/officeDocument/2006/relationships/slide" Target="slides/slide265.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notesMaster" Target="notesMasters/notesMaster1.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presProps" Target="presProp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viewProps" Target="viewProp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theme" Target="theme/theme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tableStyles" Target="tableStyle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microsoft.com/office/2015/10/relationships/revisionInfo" Target="revisionInfo.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22.xml"/><Relationship Id="rId1" Type="http://schemas.microsoft.com/office/2011/relationships/chartStyle" Target="style22.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23.xml"/><Relationship Id="rId1" Type="http://schemas.microsoft.com/office/2011/relationships/chartStyle" Target="style23.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24.xml"/><Relationship Id="rId1" Type="http://schemas.microsoft.com/office/2011/relationships/chartStyle" Target="style24.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25.xml"/><Relationship Id="rId1" Type="http://schemas.microsoft.com/office/2011/relationships/chartStyle" Target="style25.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26.xml"/><Relationship Id="rId1" Type="http://schemas.microsoft.com/office/2011/relationships/chartStyle" Target="style26.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27.xml"/><Relationship Id="rId1" Type="http://schemas.microsoft.com/office/2011/relationships/chartStyle" Target="style27.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28.xml"/><Relationship Id="rId1" Type="http://schemas.microsoft.com/office/2011/relationships/chartStyle" Target="style28.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29.xml"/><Relationship Id="rId1" Type="http://schemas.microsoft.com/office/2011/relationships/chartStyle" Target="style29.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30.xml"/><Relationship Id="rId1" Type="http://schemas.microsoft.com/office/2011/relationships/chartStyle" Target="style30.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31.xml"/><Relationship Id="rId1" Type="http://schemas.microsoft.com/office/2011/relationships/chartStyle" Target="style3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32.xml"/><Relationship Id="rId1" Type="http://schemas.microsoft.com/office/2011/relationships/chartStyle" Target="style32.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33.xml"/><Relationship Id="rId1" Type="http://schemas.microsoft.com/office/2011/relationships/chartStyle" Target="style33.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34.xml"/><Relationship Id="rId1" Type="http://schemas.microsoft.com/office/2011/relationships/chartStyle" Target="style34.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35.xml"/><Relationship Id="rId1" Type="http://schemas.microsoft.com/office/2011/relationships/chartStyle" Target="style35.xml"/></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146.xlsx"/><Relationship Id="rId2" Type="http://schemas.microsoft.com/office/2011/relationships/chartColorStyle" Target="colors36.xml"/><Relationship Id="rId1" Type="http://schemas.microsoft.com/office/2011/relationships/chartStyle" Target="style36.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37.xml"/><Relationship Id="rId1" Type="http://schemas.microsoft.com/office/2011/relationships/chartStyle" Target="style37.xml"/></Relationships>
</file>

<file path=ppt/charts/_rels/chart149.xml.rels><?xml version="1.0" encoding="UTF-8" standalone="yes"?>
<Relationships xmlns="http://schemas.openxmlformats.org/package/2006/relationships"><Relationship Id="rId3" Type="http://schemas.openxmlformats.org/officeDocument/2006/relationships/package" Target="../embeddings/Microsoft_Excel_Worksheet148.xlsx"/><Relationship Id="rId2" Type="http://schemas.microsoft.com/office/2011/relationships/chartColorStyle" Target="colors38.xml"/><Relationship Id="rId1" Type="http://schemas.microsoft.com/office/2011/relationships/chartStyle" Target="style38.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3" Type="http://schemas.openxmlformats.org/officeDocument/2006/relationships/package" Target="../embeddings/Microsoft_Excel_Worksheet149.xlsx"/><Relationship Id="rId2" Type="http://schemas.microsoft.com/office/2011/relationships/chartColorStyle" Target="colors39.xml"/><Relationship Id="rId1" Type="http://schemas.microsoft.com/office/2011/relationships/chartStyle" Target="style39.xml"/></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3" Type="http://schemas.openxmlformats.org/officeDocument/2006/relationships/package" Target="../embeddings/Microsoft_Excel_Worksheet151.xlsx"/><Relationship Id="rId2" Type="http://schemas.microsoft.com/office/2011/relationships/chartColorStyle" Target="colors40.xml"/><Relationship Id="rId1" Type="http://schemas.microsoft.com/office/2011/relationships/chartStyle" Target="style40.xml"/></Relationships>
</file>

<file path=ppt/charts/_rels/chart153.xml.rels><?xml version="1.0" encoding="UTF-8" standalone="yes"?>
<Relationships xmlns="http://schemas.openxmlformats.org/package/2006/relationships"><Relationship Id="rId3" Type="http://schemas.openxmlformats.org/officeDocument/2006/relationships/package" Target="../embeddings/Microsoft_Excel_Worksheet152.xlsx"/><Relationship Id="rId2" Type="http://schemas.microsoft.com/office/2011/relationships/chartColorStyle" Target="colors41.xml"/><Relationship Id="rId1" Type="http://schemas.microsoft.com/office/2011/relationships/chartStyle" Target="style41.xml"/></Relationships>
</file>

<file path=ppt/charts/_rels/chart154.xml.rels><?xml version="1.0" encoding="UTF-8" standalone="yes"?>
<Relationships xmlns="http://schemas.openxmlformats.org/package/2006/relationships"><Relationship Id="rId3" Type="http://schemas.openxmlformats.org/officeDocument/2006/relationships/package" Target="../embeddings/Microsoft_Excel_Worksheet153.xlsx"/><Relationship Id="rId2" Type="http://schemas.microsoft.com/office/2011/relationships/chartColorStyle" Target="colors42.xml"/><Relationship Id="rId1" Type="http://schemas.microsoft.com/office/2011/relationships/chartStyle" Target="style42.xml"/></Relationships>
</file>

<file path=ppt/charts/_rels/chart155.xml.rels><?xml version="1.0" encoding="UTF-8" standalone="yes"?>
<Relationships xmlns="http://schemas.openxmlformats.org/package/2006/relationships"><Relationship Id="rId3" Type="http://schemas.openxmlformats.org/officeDocument/2006/relationships/package" Target="../embeddings/Microsoft_Excel_Worksheet154.xlsx"/><Relationship Id="rId2" Type="http://schemas.microsoft.com/office/2011/relationships/chartColorStyle" Target="colors43.xml"/><Relationship Id="rId1" Type="http://schemas.microsoft.com/office/2011/relationships/chartStyle" Target="style43.xml"/></Relationships>
</file>

<file path=ppt/charts/_rels/chart156.xml.rels><?xml version="1.0" encoding="UTF-8" standalone="yes"?>
<Relationships xmlns="http://schemas.openxmlformats.org/package/2006/relationships"><Relationship Id="rId3" Type="http://schemas.openxmlformats.org/officeDocument/2006/relationships/package" Target="../embeddings/Microsoft_Excel_Worksheet155.xlsx"/><Relationship Id="rId2" Type="http://schemas.microsoft.com/office/2011/relationships/chartColorStyle" Target="colors44.xml"/><Relationship Id="rId1" Type="http://schemas.microsoft.com/office/2011/relationships/chartStyle" Target="style44.xml"/></Relationships>
</file>

<file path=ppt/charts/_rels/chart157.xml.rels><?xml version="1.0" encoding="UTF-8" standalone="yes"?>
<Relationships xmlns="http://schemas.openxmlformats.org/package/2006/relationships"><Relationship Id="rId3" Type="http://schemas.openxmlformats.org/officeDocument/2006/relationships/package" Target="../embeddings/Microsoft_Excel_Worksheet156.xlsx"/><Relationship Id="rId2" Type="http://schemas.microsoft.com/office/2011/relationships/chartColorStyle" Target="colors45.xml"/><Relationship Id="rId1" Type="http://schemas.microsoft.com/office/2011/relationships/chartStyle" Target="style45.xml"/></Relationships>
</file>

<file path=ppt/charts/_rels/chart158.xml.rels><?xml version="1.0" encoding="UTF-8" standalone="yes"?>
<Relationships xmlns="http://schemas.openxmlformats.org/package/2006/relationships"><Relationship Id="rId3" Type="http://schemas.openxmlformats.org/officeDocument/2006/relationships/package" Target="../embeddings/Microsoft_Excel_Worksheet157.xlsx"/><Relationship Id="rId2" Type="http://schemas.microsoft.com/office/2011/relationships/chartColorStyle" Target="colors46.xml"/><Relationship Id="rId1" Type="http://schemas.microsoft.com/office/2011/relationships/chartStyle" Target="style46.xml"/></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47.xml"/><Relationship Id="rId1" Type="http://schemas.microsoft.com/office/2011/relationships/chartStyle" Target="style47.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48.xml"/><Relationship Id="rId1" Type="http://schemas.microsoft.com/office/2011/relationships/chartStyle" Target="style48.xml"/></Relationships>
</file>

<file path=ppt/charts/_rels/chart163.xml.rels><?xml version="1.0" encoding="UTF-8" standalone="yes"?>
<Relationships xmlns="http://schemas.openxmlformats.org/package/2006/relationships"><Relationship Id="rId3" Type="http://schemas.openxmlformats.org/officeDocument/2006/relationships/package" Target="../embeddings/Microsoft_Excel_Worksheet162.xlsx"/><Relationship Id="rId2" Type="http://schemas.microsoft.com/office/2011/relationships/chartColorStyle" Target="colors49.xml"/><Relationship Id="rId1" Type="http://schemas.microsoft.com/office/2011/relationships/chartStyle" Target="style49.xml"/></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50.xml"/><Relationship Id="rId1" Type="http://schemas.microsoft.com/office/2011/relationships/chartStyle" Target="style50.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51.xml"/><Relationship Id="rId1" Type="http://schemas.microsoft.com/office/2011/relationships/chartStyle" Target="style51.xml"/></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52.xml"/><Relationship Id="rId1" Type="http://schemas.microsoft.com/office/2011/relationships/chartStyle" Target="style52.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53.xml"/><Relationship Id="rId1" Type="http://schemas.microsoft.com/office/2011/relationships/chartStyle" Target="style53.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54.xml"/><Relationship Id="rId1" Type="http://schemas.microsoft.com/office/2011/relationships/chartStyle" Target="style54.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55.xml"/><Relationship Id="rId1" Type="http://schemas.microsoft.com/office/2011/relationships/chartStyle" Target="style55.xml"/></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56.xml"/><Relationship Id="rId1" Type="http://schemas.microsoft.com/office/2011/relationships/chartStyle" Target="style56.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57.xml"/><Relationship Id="rId1" Type="http://schemas.microsoft.com/office/2011/relationships/chartStyle" Target="style57.xml"/></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58.xml"/><Relationship Id="rId1" Type="http://schemas.microsoft.com/office/2011/relationships/chartStyle" Target="style58.xml"/></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59.xml"/><Relationship Id="rId1" Type="http://schemas.microsoft.com/office/2011/relationships/chartStyle" Target="style59.xml"/></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60.xml"/><Relationship Id="rId1" Type="http://schemas.microsoft.com/office/2011/relationships/chartStyle" Target="style60.xml"/></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61.xml"/><Relationship Id="rId1" Type="http://schemas.microsoft.com/office/2011/relationships/chartStyle" Target="style61.xml"/></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62.xml"/><Relationship Id="rId1" Type="http://schemas.microsoft.com/office/2011/relationships/chartStyle" Target="style62.xml"/></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63.xml"/><Relationship Id="rId1" Type="http://schemas.microsoft.com/office/2011/relationships/chartStyle" Target="style63.xml"/></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64.xml"/><Relationship Id="rId1" Type="http://schemas.microsoft.com/office/2011/relationships/chartStyle" Target="style64.xml"/></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65.xml"/><Relationship Id="rId1" Type="http://schemas.microsoft.com/office/2011/relationships/chartStyle" Target="style65.xml"/></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66.xml"/><Relationship Id="rId1" Type="http://schemas.microsoft.com/office/2011/relationships/chartStyle" Target="style66.xml"/></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67.xml"/><Relationship Id="rId1" Type="http://schemas.microsoft.com/office/2011/relationships/chartStyle" Target="style67.xml"/></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68.xml"/><Relationship Id="rId1" Type="http://schemas.microsoft.com/office/2011/relationships/chartStyle" Target="style68.xml"/></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69.xml"/><Relationship Id="rId1" Type="http://schemas.microsoft.com/office/2011/relationships/chartStyle" Target="style69.xml"/></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70.xml"/><Relationship Id="rId1" Type="http://schemas.microsoft.com/office/2011/relationships/chartStyle" Target="style70.xml"/></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71.xml"/><Relationship Id="rId1" Type="http://schemas.microsoft.com/office/2011/relationships/chartStyle" Target="style71.xml"/></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72.xml"/><Relationship Id="rId1" Type="http://schemas.microsoft.com/office/2011/relationships/chartStyle" Target="style72.xml"/></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73.xml"/><Relationship Id="rId1" Type="http://schemas.microsoft.com/office/2011/relationships/chartStyle" Target="style73.xml"/></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74.xml"/><Relationship Id="rId1" Type="http://schemas.microsoft.com/office/2011/relationships/chartStyle" Target="style74.xml"/></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75.xml"/><Relationship Id="rId1" Type="http://schemas.microsoft.com/office/2011/relationships/chartStyle" Target="style75.xml"/></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76.xml"/><Relationship Id="rId1" Type="http://schemas.microsoft.com/office/2011/relationships/chartStyle" Target="style76.xml"/></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77.xml"/><Relationship Id="rId1" Type="http://schemas.microsoft.com/office/2011/relationships/chartStyle" Target="style77.xml"/></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78.xml"/><Relationship Id="rId1" Type="http://schemas.microsoft.com/office/2011/relationships/chartStyle" Target="style78.xml"/></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79.xml"/><Relationship Id="rId1" Type="http://schemas.microsoft.com/office/2011/relationships/chartStyle" Target="style79.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80.xml"/><Relationship Id="rId1" Type="http://schemas.microsoft.com/office/2011/relationships/chartStyle" Target="style80.xml"/></Relationships>
</file>

<file path=ppt/charts/_rels/chart236.xml.rels><?xml version="1.0" encoding="UTF-8" standalone="yes"?>
<Relationships xmlns="http://schemas.openxmlformats.org/package/2006/relationships"><Relationship Id="rId3" Type="http://schemas.openxmlformats.org/officeDocument/2006/relationships/package" Target="../embeddings/Microsoft_Excel_Worksheet235.xlsx"/><Relationship Id="rId2" Type="http://schemas.microsoft.com/office/2011/relationships/chartColorStyle" Target="colors81.xml"/><Relationship Id="rId1" Type="http://schemas.microsoft.com/office/2011/relationships/chartStyle" Target="style81.xml"/></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3" Type="http://schemas.openxmlformats.org/officeDocument/2006/relationships/package" Target="../embeddings/Microsoft_Excel_Worksheet237.xlsx"/><Relationship Id="rId2" Type="http://schemas.microsoft.com/office/2011/relationships/chartColorStyle" Target="colors82.xml"/><Relationship Id="rId1" Type="http://schemas.microsoft.com/office/2011/relationships/chartStyle" Target="style82.xml"/></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3" Type="http://schemas.openxmlformats.org/officeDocument/2006/relationships/package" Target="../embeddings/Microsoft_Excel_Worksheet239.xlsx"/><Relationship Id="rId2" Type="http://schemas.microsoft.com/office/2011/relationships/chartColorStyle" Target="colors83.xml"/><Relationship Id="rId1" Type="http://schemas.microsoft.com/office/2011/relationships/chartStyle" Target="style83.xml"/></Relationships>
</file>

<file path=ppt/charts/_rels/chart241.xml.rels><?xml version="1.0" encoding="UTF-8" standalone="yes"?>
<Relationships xmlns="http://schemas.openxmlformats.org/package/2006/relationships"><Relationship Id="rId3" Type="http://schemas.openxmlformats.org/officeDocument/2006/relationships/package" Target="../embeddings/Microsoft_Excel_Worksheet240.xlsx"/><Relationship Id="rId2" Type="http://schemas.microsoft.com/office/2011/relationships/chartColorStyle" Target="colors84.xml"/><Relationship Id="rId1" Type="http://schemas.microsoft.com/office/2011/relationships/chartStyle" Target="style84.xml"/></Relationships>
</file>

<file path=ppt/charts/_rels/chart242.xml.rels><?xml version="1.0" encoding="UTF-8" standalone="yes"?>
<Relationships xmlns="http://schemas.openxmlformats.org/package/2006/relationships"><Relationship Id="rId3" Type="http://schemas.openxmlformats.org/officeDocument/2006/relationships/package" Target="../embeddings/Microsoft_Excel_Worksheet241.xlsx"/><Relationship Id="rId2" Type="http://schemas.microsoft.com/office/2011/relationships/chartColorStyle" Target="colors85.xml"/><Relationship Id="rId1" Type="http://schemas.microsoft.com/office/2011/relationships/chartStyle" Target="style85.xml"/></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3" Type="http://schemas.openxmlformats.org/officeDocument/2006/relationships/package" Target="../embeddings/Microsoft_Excel_Worksheet243.xlsx"/><Relationship Id="rId2" Type="http://schemas.microsoft.com/office/2011/relationships/chartColorStyle" Target="colors86.xml"/><Relationship Id="rId1" Type="http://schemas.microsoft.com/office/2011/relationships/chartStyle" Target="style86.xml"/></Relationships>
</file>

<file path=ppt/charts/_rels/chart245.xml.rels><?xml version="1.0" encoding="UTF-8" standalone="yes"?>
<Relationships xmlns="http://schemas.openxmlformats.org/package/2006/relationships"><Relationship Id="rId3" Type="http://schemas.openxmlformats.org/officeDocument/2006/relationships/package" Target="../embeddings/Microsoft_Excel_Worksheet244.xlsx"/><Relationship Id="rId2" Type="http://schemas.microsoft.com/office/2011/relationships/chartColorStyle" Target="colors87.xml"/><Relationship Id="rId1" Type="http://schemas.microsoft.com/office/2011/relationships/chartStyle" Target="style87.xml"/></Relationships>
</file>

<file path=ppt/charts/_rels/chart246.xml.rels><?xml version="1.0" encoding="UTF-8" standalone="yes"?>
<Relationships xmlns="http://schemas.openxmlformats.org/package/2006/relationships"><Relationship Id="rId3" Type="http://schemas.openxmlformats.org/officeDocument/2006/relationships/package" Target="../embeddings/Microsoft_Excel_Worksheet245.xlsx"/><Relationship Id="rId2" Type="http://schemas.microsoft.com/office/2011/relationships/chartColorStyle" Target="colors88.xml"/><Relationship Id="rId1" Type="http://schemas.microsoft.com/office/2011/relationships/chartStyle" Target="style88.xml"/></Relationships>
</file>

<file path=ppt/charts/_rels/chart247.xml.rels><?xml version="1.0" encoding="UTF-8" standalone="yes"?>
<Relationships xmlns="http://schemas.openxmlformats.org/package/2006/relationships"><Relationship Id="rId3" Type="http://schemas.openxmlformats.org/officeDocument/2006/relationships/package" Target="../embeddings/Microsoft_Excel_Worksheet246.xlsx"/><Relationship Id="rId2" Type="http://schemas.microsoft.com/office/2011/relationships/chartColorStyle" Target="colors89.xml"/><Relationship Id="rId1" Type="http://schemas.microsoft.com/office/2011/relationships/chartStyle" Target="style89.xml"/></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90.xml"/><Relationship Id="rId1" Type="http://schemas.microsoft.com/office/2011/relationships/chartStyle" Target="style90.xml"/></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91.xml"/><Relationship Id="rId1" Type="http://schemas.microsoft.com/office/2011/relationships/chartStyle" Target="style91.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92.xml"/><Relationship Id="rId1" Type="http://schemas.microsoft.com/office/2011/relationships/chartStyle" Target="style92.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93.xml"/><Relationship Id="rId1" Type="http://schemas.microsoft.com/office/2011/relationships/chartStyle" Target="style93.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94.xml"/><Relationship Id="rId1" Type="http://schemas.microsoft.com/office/2011/relationships/chartStyle" Target="style94.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95.xml"/><Relationship Id="rId1" Type="http://schemas.microsoft.com/office/2011/relationships/chartStyle" Target="style95.xml"/></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96.xml"/><Relationship Id="rId1" Type="http://schemas.microsoft.com/office/2011/relationships/chartStyle" Target="style96.xml"/></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97.xml"/><Relationship Id="rId1" Type="http://schemas.microsoft.com/office/2011/relationships/chartStyle" Target="style97.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98.xml"/><Relationship Id="rId1" Type="http://schemas.microsoft.com/office/2011/relationships/chartStyle" Target="style98.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99.xml"/><Relationship Id="rId1" Type="http://schemas.microsoft.com/office/2011/relationships/chartStyle" Target="style99.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100.xml"/><Relationship Id="rId1" Type="http://schemas.microsoft.com/office/2011/relationships/chartStyle" Target="style100.xml"/></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101.xml"/><Relationship Id="rId1" Type="http://schemas.microsoft.com/office/2011/relationships/chartStyle" Target="style101.xml"/></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3" Type="http://schemas.openxmlformats.org/officeDocument/2006/relationships/package" Target="../embeddings/Microsoft_Excel_Worksheet288.xlsx"/><Relationship Id="rId2" Type="http://schemas.microsoft.com/office/2011/relationships/chartColorStyle" Target="colors102.xml"/><Relationship Id="rId1" Type="http://schemas.microsoft.com/office/2011/relationships/chartStyle" Target="style10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290.xml.rels><?xml version="1.0" encoding="UTF-8" standalone="yes"?>
<Relationships xmlns="http://schemas.openxmlformats.org/package/2006/relationships"><Relationship Id="rId3" Type="http://schemas.openxmlformats.org/officeDocument/2006/relationships/package" Target="../embeddings/Microsoft_Excel_Worksheet289.xlsx"/><Relationship Id="rId2" Type="http://schemas.microsoft.com/office/2011/relationships/chartColorStyle" Target="colors103.xml"/><Relationship Id="rId1" Type="http://schemas.microsoft.com/office/2011/relationships/chartStyle" Target="style103.xml"/></Relationships>
</file>

<file path=ppt/charts/_rels/chart291.xml.rels><?xml version="1.0" encoding="UTF-8" standalone="yes"?>
<Relationships xmlns="http://schemas.openxmlformats.org/package/2006/relationships"><Relationship Id="rId3" Type="http://schemas.openxmlformats.org/officeDocument/2006/relationships/package" Target="../embeddings/Microsoft_Excel_Worksheet290.xlsx"/><Relationship Id="rId2" Type="http://schemas.microsoft.com/office/2011/relationships/chartColorStyle" Target="colors104.xml"/><Relationship Id="rId1" Type="http://schemas.microsoft.com/office/2011/relationships/chartStyle" Target="style104.xml"/></Relationships>
</file>

<file path=ppt/charts/_rels/chart292.xml.rels><?xml version="1.0" encoding="UTF-8" standalone="yes"?>
<Relationships xmlns="http://schemas.openxmlformats.org/package/2006/relationships"><Relationship Id="rId3" Type="http://schemas.openxmlformats.org/officeDocument/2006/relationships/package" Target="../embeddings/Microsoft_Excel_Worksheet291.xlsx"/><Relationship Id="rId2" Type="http://schemas.microsoft.com/office/2011/relationships/chartColorStyle" Target="colors105.xml"/><Relationship Id="rId1" Type="http://schemas.microsoft.com/office/2011/relationships/chartStyle" Target="style105.xml"/></Relationships>
</file>

<file path=ppt/charts/_rels/chart293.xml.rels><?xml version="1.0" encoding="UTF-8" standalone="yes"?>
<Relationships xmlns="http://schemas.openxmlformats.org/package/2006/relationships"><Relationship Id="rId3" Type="http://schemas.openxmlformats.org/officeDocument/2006/relationships/package" Target="../embeddings/Microsoft_Excel_Worksheet292.xlsx"/><Relationship Id="rId2" Type="http://schemas.microsoft.com/office/2011/relationships/chartColorStyle" Target="colors106.xml"/><Relationship Id="rId1" Type="http://schemas.microsoft.com/office/2011/relationships/chartStyle" Target="style106.xml"/></Relationships>
</file>

<file path=ppt/charts/_rels/chart294.xml.rels><?xml version="1.0" encoding="UTF-8" standalone="yes"?>
<Relationships xmlns="http://schemas.openxmlformats.org/package/2006/relationships"><Relationship Id="rId3" Type="http://schemas.openxmlformats.org/officeDocument/2006/relationships/package" Target="../embeddings/Microsoft_Excel_Worksheet293.xlsx"/><Relationship Id="rId2" Type="http://schemas.microsoft.com/office/2011/relationships/chartColorStyle" Target="colors107.xml"/><Relationship Id="rId1" Type="http://schemas.microsoft.com/office/2011/relationships/chartStyle" Target="style107.xml"/></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108.xml"/><Relationship Id="rId1" Type="http://schemas.microsoft.com/office/2011/relationships/chartStyle" Target="style108.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109.xml"/><Relationship Id="rId1" Type="http://schemas.microsoft.com/office/2011/relationships/chartStyle" Target="style109.xml"/></Relationships>
</file>

<file path=ppt/charts/_rels/chart309.xml.rels><?xml version="1.0" encoding="UTF-8" standalone="yes"?>
<Relationships xmlns="http://schemas.openxmlformats.org/package/2006/relationships"><Relationship Id="rId3" Type="http://schemas.openxmlformats.org/officeDocument/2006/relationships/package" Target="../embeddings/Microsoft_Excel_Worksheet308.xlsx"/><Relationship Id="rId2" Type="http://schemas.microsoft.com/office/2011/relationships/chartColorStyle" Target="colors110.xml"/><Relationship Id="rId1" Type="http://schemas.microsoft.com/office/2011/relationships/chartStyle" Target="style11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10.xml.rels><?xml version="1.0" encoding="UTF-8" standalone="yes"?>
<Relationships xmlns="http://schemas.openxmlformats.org/package/2006/relationships"><Relationship Id="rId3" Type="http://schemas.openxmlformats.org/officeDocument/2006/relationships/package" Target="../embeddings/Microsoft_Excel_Worksheet309.xlsx"/><Relationship Id="rId2" Type="http://schemas.microsoft.com/office/2011/relationships/chartColorStyle" Target="colors111.xml"/><Relationship Id="rId1" Type="http://schemas.microsoft.com/office/2011/relationships/chartStyle" Target="style111.xml"/></Relationships>
</file>

<file path=ppt/charts/_rels/chart311.xml.rels><?xml version="1.0" encoding="UTF-8" standalone="yes"?>
<Relationships xmlns="http://schemas.openxmlformats.org/package/2006/relationships"><Relationship Id="rId3" Type="http://schemas.openxmlformats.org/officeDocument/2006/relationships/package" Target="../embeddings/Microsoft_Excel_Worksheet310.xlsx"/><Relationship Id="rId2" Type="http://schemas.microsoft.com/office/2011/relationships/chartColorStyle" Target="colors112.xml"/><Relationship Id="rId1" Type="http://schemas.microsoft.com/office/2011/relationships/chartStyle" Target="style112.xml"/></Relationships>
</file>

<file path=ppt/charts/_rels/chart312.xml.rels><?xml version="1.0" encoding="UTF-8" standalone="yes"?>
<Relationships xmlns="http://schemas.openxmlformats.org/package/2006/relationships"><Relationship Id="rId3" Type="http://schemas.openxmlformats.org/officeDocument/2006/relationships/package" Target="../embeddings/Microsoft_Excel_Worksheet311.xlsx"/><Relationship Id="rId2" Type="http://schemas.microsoft.com/office/2011/relationships/chartColorStyle" Target="colors113.xml"/><Relationship Id="rId1" Type="http://schemas.microsoft.com/office/2011/relationships/chartStyle" Target="style11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19.xml"/><Relationship Id="rId1" Type="http://schemas.microsoft.com/office/2011/relationships/chartStyle" Target="style19.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20.xml"/><Relationship Id="rId1" Type="http://schemas.microsoft.com/office/2011/relationships/chartStyle" Target="style20.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21.xml"/><Relationship Id="rId1" Type="http://schemas.microsoft.com/office/2011/relationships/chartStyle" Target="style2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4.0613590510432109</c:v>
                </c:pt>
                <c:pt idx="1">
                  <c:v>6.717742021337278</c:v>
                </c:pt>
                <c:pt idx="2">
                  <c:v>1.0934879901515977</c:v>
                </c:pt>
                <c:pt idx="3">
                  <c:v>-0.7943759315237866</c:v>
                </c:pt>
                <c:pt idx="4">
                  <c:v>-0.8522816284738411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B$2:$B$5</c:f>
              <c:numCache>
                <c:formatCode>General</c:formatCode>
                <c:ptCount val="4"/>
                <c:pt idx="0">
                  <c:v>1</c:v>
                </c:pt>
                <c:pt idx="1">
                  <c:v>0.42474603711793024</c:v>
                </c:pt>
                <c:pt idx="2">
                  <c:v>0.61019626426568729</c:v>
                </c:pt>
                <c:pt idx="3">
                  <c:v>0.9998621467092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Gillette</c:v>
                </c:pt>
                <c:pt idx="2">
                  <c:v>Harry's</c:v>
                </c:pt>
                <c:pt idx="3">
                  <c:v>Dollar Shave Club</c:v>
                </c:pt>
              </c:strCache>
            </c:strRef>
          </c:cat>
          <c:val>
            <c:numRef>
              <c:f>Sheet1!$C$2:$C$5</c:f>
              <c:numCache>
                <c:formatCode>General</c:formatCode>
                <c:ptCount val="4"/>
                <c:pt idx="0">
                  <c:v>0</c:v>
                </c:pt>
                <c:pt idx="1">
                  <c:v>0.57525396288206976</c:v>
                </c:pt>
                <c:pt idx="2">
                  <c:v>0.38980373573431271</c:v>
                </c:pt>
                <c:pt idx="3">
                  <c:v>1.3785329074700314E-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B$2:$B$6</c:f>
              <c:numCache>
                <c:formatCode>General</c:formatCode>
                <c:ptCount val="5"/>
                <c:pt idx="0">
                  <c:v>0.60644332995260775</c:v>
                </c:pt>
                <c:pt idx="1">
                  <c:v>0.27151222724929841</c:v>
                </c:pt>
                <c:pt idx="2">
                  <c:v>2.6621773530429296E-2</c:v>
                </c:pt>
                <c:pt idx="3">
                  <c:v>0.64038562250595621</c:v>
                </c:pt>
                <c:pt idx="4">
                  <c:v>0.7976303556894579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c:v>
                </c:pt>
                <c:pt idx="1">
                  <c:v>Equate</c:v>
                </c:pt>
                <c:pt idx="2">
                  <c:v>Gillette</c:v>
                </c:pt>
                <c:pt idx="3">
                  <c:v>Harry's</c:v>
                </c:pt>
                <c:pt idx="4">
                  <c:v>Dollar Shave Club</c:v>
                </c:pt>
              </c:strCache>
            </c:strRef>
          </c:cat>
          <c:val>
            <c:numRef>
              <c:f>Sheet1!$C$2:$C$6</c:f>
              <c:numCache>
                <c:formatCode>General</c:formatCode>
                <c:ptCount val="5"/>
                <c:pt idx="0">
                  <c:v>0.39355667004739225</c:v>
                </c:pt>
                <c:pt idx="1">
                  <c:v>0.72848777275070153</c:v>
                </c:pt>
                <c:pt idx="2">
                  <c:v>0.97337822646957073</c:v>
                </c:pt>
                <c:pt idx="3">
                  <c:v>0.35961437749404379</c:v>
                </c:pt>
                <c:pt idx="4">
                  <c:v>0.202369644310542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1</c:v>
                </c:pt>
                <c:pt idx="1">
                  <c:v>0.13</c:v>
                </c:pt>
                <c:pt idx="2">
                  <c:v>1</c:v>
                </c:pt>
                <c:pt idx="3">
                  <c:v>1</c:v>
                </c:pt>
                <c:pt idx="5">
                  <c:v>1</c:v>
                </c:pt>
                <c:pt idx="6">
                  <c:v>0.79</c:v>
                </c:pt>
                <c:pt idx="7">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4">
                  <c:v>0.0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1">
                  <c:v>0.87</c:v>
                </c:pt>
                <c:pt idx="4">
                  <c:v>0.43</c:v>
                </c:pt>
                <c:pt idx="6">
                  <c:v>0.2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E$2:$E$9</c:f>
              <c:numCache>
                <c:formatCode>General</c:formatCode>
                <c:ptCount val="8"/>
                <c:pt idx="4">
                  <c:v>0.560000000000000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1</c:v>
                </c:pt>
                <c:pt idx="1">
                  <c:v>0.12</c:v>
                </c:pt>
                <c:pt idx="2">
                  <c:v>1</c:v>
                </c:pt>
                <c:pt idx="4">
                  <c:v>1</c:v>
                </c:pt>
                <c:pt idx="5">
                  <c:v>1</c:v>
                </c:pt>
                <c:pt idx="6">
                  <c:v>0.79</c:v>
                </c:pt>
                <c:pt idx="7">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3">
                  <c:v>0.0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1">
                  <c:v>0.88</c:v>
                </c:pt>
                <c:pt idx="3">
                  <c:v>0.28000000000000003</c:v>
                </c:pt>
                <c:pt idx="6">
                  <c:v>0.2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E$2:$E$9</c:f>
              <c:numCache>
                <c:formatCode>General</c:formatCode>
                <c:ptCount val="8"/>
                <c:pt idx="3">
                  <c:v>0.7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 + 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1">
                  <c:v>0.2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E$2:$E$4</c:f>
              <c:numCache>
                <c:formatCode>General</c:formatCode>
                <c:ptCount val="3"/>
                <c:pt idx="1">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02</c:v>
                </c:pt>
                <c:pt idx="3">
                  <c:v>0.79</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0.98</c:v>
                </c:pt>
                <c:pt idx="1">
                  <c:v>1</c:v>
                </c:pt>
                <c:pt idx="2">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3">
                  <c:v>0.2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UNDEFINED</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 + 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1</c:v>
                </c:pt>
                <c:pt idx="1">
                  <c:v>0.48</c:v>
                </c:pt>
                <c:pt idx="3">
                  <c:v>1</c:v>
                </c:pt>
                <c:pt idx="4">
                  <c:v>1</c:v>
                </c:pt>
                <c:pt idx="5">
                  <c:v>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1">
                  <c:v>0.52</c:v>
                </c:pt>
                <c:pt idx="2">
                  <c:v>0.38</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E$2:$E$7</c:f>
              <c:numCache>
                <c:formatCode>General</c:formatCode>
                <c:ptCount val="6"/>
                <c:pt idx="2">
                  <c:v>0.6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1">
                  <c:v>1</c:v>
                </c:pt>
                <c:pt idx="2">
                  <c:v>0.24</c:v>
                </c:pt>
                <c:pt idx="5">
                  <c:v>0.2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UNDEFINED</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1</c:v>
                </c:pt>
                <c:pt idx="3">
                  <c:v>1</c:v>
                </c:pt>
                <c:pt idx="4">
                  <c:v>1</c:v>
                </c:pt>
                <c:pt idx="5">
                  <c:v>0.78</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 + 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2">
                  <c:v>0.0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E$2:$E$7</c:f>
              <c:numCache>
                <c:formatCode>General</c:formatCode>
                <c:ptCount val="6"/>
                <c:pt idx="2">
                  <c:v>0.74</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7135</c:v>
                </c:pt>
                <c:pt idx="39">
                  <c:v>18098</c:v>
                </c:pt>
                <c:pt idx="40">
                  <c:v>13315</c:v>
                </c:pt>
                <c:pt idx="41">
                  <c:v>99040</c:v>
                </c:pt>
                <c:pt idx="42">
                  <c:v>106006</c:v>
                </c:pt>
                <c:pt idx="43">
                  <c:v>92756</c:v>
                </c:pt>
                <c:pt idx="44">
                  <c:v>367107</c:v>
                </c:pt>
                <c:pt idx="45">
                  <c:v>345022</c:v>
                </c:pt>
                <c:pt idx="46">
                  <c:v>311875</c:v>
                </c:pt>
                <c:pt idx="47">
                  <c:v>101117</c:v>
                </c:pt>
                <c:pt idx="48">
                  <c:v>90338</c:v>
                </c:pt>
                <c:pt idx="49">
                  <c:v>107079</c:v>
                </c:pt>
                <c:pt idx="50">
                  <c:v>222973</c:v>
                </c:pt>
                <c:pt idx="51">
                  <c:v>317742</c:v>
                </c:pt>
                <c:pt idx="52">
                  <c:v>355345</c:v>
                </c:pt>
                <c:pt idx="53">
                  <c:v>408148</c:v>
                </c:pt>
                <c:pt idx="54">
                  <c:v>359559</c:v>
                </c:pt>
                <c:pt idx="55">
                  <c:v>314110</c:v>
                </c:pt>
                <c:pt idx="56">
                  <c:v>26478</c:v>
                </c:pt>
                <c:pt idx="57">
                  <c:v>26597</c:v>
                </c:pt>
                <c:pt idx="58">
                  <c:v>21766</c:v>
                </c:pt>
                <c:pt idx="59">
                  <c:v>25659</c:v>
                </c:pt>
                <c:pt idx="60">
                  <c:v>77392</c:v>
                </c:pt>
                <c:pt idx="61">
                  <c:v>99384</c:v>
                </c:pt>
                <c:pt idx="62">
                  <c:v>72037</c:v>
                </c:pt>
                <c:pt idx="63">
                  <c:v>24860</c:v>
                </c:pt>
                <c:pt idx="64">
                  <c:v>10502</c:v>
                </c:pt>
                <c:pt idx="65">
                  <c:v>84125</c:v>
                </c:pt>
                <c:pt idx="66">
                  <c:v>183097</c:v>
                </c:pt>
                <c:pt idx="67">
                  <c:v>171577</c:v>
                </c:pt>
                <c:pt idx="68">
                  <c:v>103577</c:v>
                </c:pt>
                <c:pt idx="69">
                  <c:v>53987</c:v>
                </c:pt>
                <c:pt idx="70">
                  <c:v>36053</c:v>
                </c:pt>
                <c:pt idx="71">
                  <c:v>61765</c:v>
                </c:pt>
                <c:pt idx="72">
                  <c:v>51959</c:v>
                </c:pt>
                <c:pt idx="73">
                  <c:v>193830</c:v>
                </c:pt>
                <c:pt idx="74">
                  <c:v>238159</c:v>
                </c:pt>
                <c:pt idx="75">
                  <c:v>236593</c:v>
                </c:pt>
                <c:pt idx="76">
                  <c:v>230309</c:v>
                </c:pt>
                <c:pt idx="77">
                  <c:v>228007</c:v>
                </c:pt>
                <c:pt idx="78">
                  <c:v>227491</c:v>
                </c:pt>
                <c:pt idx="79">
                  <c:v>26241</c:v>
                </c:pt>
                <c:pt idx="80">
                  <c:v>1270</c:v>
                </c:pt>
                <c:pt idx="81">
                  <c:v>1368</c:v>
                </c:pt>
                <c:pt idx="82">
                  <c:v>49312</c:v>
                </c:pt>
                <c:pt idx="83">
                  <c:v>56195</c:v>
                </c:pt>
                <c:pt idx="84">
                  <c:v>61690</c:v>
                </c:pt>
                <c:pt idx="85">
                  <c:v>54826</c:v>
                </c:pt>
                <c:pt idx="86">
                  <c:v>13618</c:v>
                </c:pt>
                <c:pt idx="87">
                  <c:v>14642</c:v>
                </c:pt>
                <c:pt idx="88">
                  <c:v>13438</c:v>
                </c:pt>
                <c:pt idx="89">
                  <c:v>14613</c:v>
                </c:pt>
                <c:pt idx="90">
                  <c:v>15617</c:v>
                </c:pt>
                <c:pt idx="91">
                  <c:v>1307</c:v>
                </c:pt>
                <c:pt idx="92">
                  <c:v>910</c:v>
                </c:pt>
                <c:pt idx="93">
                  <c:v>46520</c:v>
                </c:pt>
                <c:pt idx="94">
                  <c:v>54916</c:v>
                </c:pt>
                <c:pt idx="95">
                  <c:v>247723</c:v>
                </c:pt>
                <c:pt idx="96">
                  <c:v>259457</c:v>
                </c:pt>
                <c:pt idx="97">
                  <c:v>248536</c:v>
                </c:pt>
                <c:pt idx="98">
                  <c:v>241752</c:v>
                </c:pt>
                <c:pt idx="99">
                  <c:v>221995</c:v>
                </c:pt>
                <c:pt idx="100">
                  <c:v>189946</c:v>
                </c:pt>
                <c:pt idx="101">
                  <c:v>56518</c:v>
                </c:pt>
                <c:pt idx="102">
                  <c:v>76281</c:v>
                </c:pt>
                <c:pt idx="103">
                  <c:v>65335</c:v>
                </c:pt>
                <c:pt idx="104">
                  <c:v>201725</c:v>
                </c:pt>
                <c:pt idx="105">
                  <c:v>281649</c:v>
                </c:pt>
                <c:pt idx="106">
                  <c:v>297077</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5825</c:v>
                </c:pt>
                <c:pt idx="41">
                  <c:v>205352</c:v>
                </c:pt>
                <c:pt idx="42">
                  <c:v>203403</c:v>
                </c:pt>
                <c:pt idx="43">
                  <c:v>261794</c:v>
                </c:pt>
                <c:pt idx="44">
                  <c:v>103</c:v>
                </c:pt>
                <c:pt idx="45">
                  <c:v>40</c:v>
                </c:pt>
                <c:pt idx="46">
                  <c:v>456</c:v>
                </c:pt>
                <c:pt idx="47">
                  <c:v>186849</c:v>
                </c:pt>
                <c:pt idx="48">
                  <c:v>227013</c:v>
                </c:pt>
                <c:pt idx="49">
                  <c:v>227849</c:v>
                </c:pt>
                <c:pt idx="50">
                  <c:v>226010</c:v>
                </c:pt>
                <c:pt idx="51">
                  <c:v>780</c:v>
                </c:pt>
                <c:pt idx="52">
                  <c:v>117</c:v>
                </c:pt>
                <c:pt idx="53">
                  <c:v>51</c:v>
                </c:pt>
                <c:pt idx="54">
                  <c:v>96</c:v>
                </c:pt>
                <c:pt idx="55">
                  <c:v>9508</c:v>
                </c:pt>
                <c:pt idx="56">
                  <c:v>250418</c:v>
                </c:pt>
                <c:pt idx="57">
                  <c:v>240158</c:v>
                </c:pt>
                <c:pt idx="58">
                  <c:v>221312</c:v>
                </c:pt>
                <c:pt idx="59">
                  <c:v>248756</c:v>
                </c:pt>
                <c:pt idx="60">
                  <c:v>220819</c:v>
                </c:pt>
                <c:pt idx="61">
                  <c:v>212413</c:v>
                </c:pt>
                <c:pt idx="62">
                  <c:v>230323</c:v>
                </c:pt>
                <c:pt idx="63">
                  <c:v>247648</c:v>
                </c:pt>
                <c:pt idx="64">
                  <c:v>260415</c:v>
                </c:pt>
                <c:pt idx="65">
                  <c:v>169548</c:v>
                </c:pt>
                <c:pt idx="66">
                  <c:v>120659</c:v>
                </c:pt>
                <c:pt idx="67">
                  <c:v>131631</c:v>
                </c:pt>
                <c:pt idx="68">
                  <c:v>157361</c:v>
                </c:pt>
                <c:pt idx="69">
                  <c:v>174276</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996</c:v>
                </c:pt>
                <c:pt idx="39">
                  <c:v>291454</c:v>
                </c:pt>
                <c:pt idx="40">
                  <c:v>289140</c:v>
                </c:pt>
                <c:pt idx="41">
                  <c:v>304392</c:v>
                </c:pt>
                <c:pt idx="42">
                  <c:v>309409</c:v>
                </c:pt>
                <c:pt idx="43">
                  <c:v>354550</c:v>
                </c:pt>
                <c:pt idx="44">
                  <c:v>367210</c:v>
                </c:pt>
                <c:pt idx="45">
                  <c:v>345062</c:v>
                </c:pt>
                <c:pt idx="46">
                  <c:v>312331</c:v>
                </c:pt>
                <c:pt idx="47">
                  <c:v>287966</c:v>
                </c:pt>
                <c:pt idx="48">
                  <c:v>317351</c:v>
                </c:pt>
                <c:pt idx="49">
                  <c:v>334928</c:v>
                </c:pt>
                <c:pt idx="50">
                  <c:v>448983</c:v>
                </c:pt>
                <c:pt idx="51">
                  <c:v>318522</c:v>
                </c:pt>
                <c:pt idx="52">
                  <c:v>355462</c:v>
                </c:pt>
                <c:pt idx="53">
                  <c:v>408199</c:v>
                </c:pt>
                <c:pt idx="54">
                  <c:v>359655</c:v>
                </c:pt>
                <c:pt idx="55">
                  <c:v>323618</c:v>
                </c:pt>
                <c:pt idx="56">
                  <c:v>276896</c:v>
                </c:pt>
                <c:pt idx="57">
                  <c:v>266755</c:v>
                </c:pt>
                <c:pt idx="58">
                  <c:v>243078</c:v>
                </c:pt>
                <c:pt idx="59">
                  <c:v>274415</c:v>
                </c:pt>
                <c:pt idx="60">
                  <c:v>298211</c:v>
                </c:pt>
                <c:pt idx="61">
                  <c:v>311797</c:v>
                </c:pt>
                <c:pt idx="62">
                  <c:v>302360</c:v>
                </c:pt>
                <c:pt idx="63">
                  <c:v>272508</c:v>
                </c:pt>
                <c:pt idx="64">
                  <c:v>270917</c:v>
                </c:pt>
                <c:pt idx="65">
                  <c:v>253673</c:v>
                </c:pt>
                <c:pt idx="66">
                  <c:v>303756</c:v>
                </c:pt>
                <c:pt idx="67">
                  <c:v>303208</c:v>
                </c:pt>
                <c:pt idx="68">
                  <c:v>260938</c:v>
                </c:pt>
                <c:pt idx="69">
                  <c:v>228263</c:v>
                </c:pt>
                <c:pt idx="70">
                  <c:v>213726</c:v>
                </c:pt>
                <c:pt idx="71">
                  <c:v>199537</c:v>
                </c:pt>
                <c:pt idx="72">
                  <c:v>209855</c:v>
                </c:pt>
                <c:pt idx="73">
                  <c:v>209648</c:v>
                </c:pt>
                <c:pt idx="74">
                  <c:v>241304</c:v>
                </c:pt>
                <c:pt idx="75">
                  <c:v>238890</c:v>
                </c:pt>
                <c:pt idx="76">
                  <c:v>234071</c:v>
                </c:pt>
                <c:pt idx="77">
                  <c:v>241372</c:v>
                </c:pt>
                <c:pt idx="78">
                  <c:v>245574</c:v>
                </c:pt>
                <c:pt idx="79">
                  <c:v>187713</c:v>
                </c:pt>
                <c:pt idx="80">
                  <c:v>184551</c:v>
                </c:pt>
                <c:pt idx="81">
                  <c:v>186296</c:v>
                </c:pt>
                <c:pt idx="82">
                  <c:v>197274</c:v>
                </c:pt>
                <c:pt idx="83">
                  <c:v>212655</c:v>
                </c:pt>
                <c:pt idx="84">
                  <c:v>208814</c:v>
                </c:pt>
                <c:pt idx="85">
                  <c:v>213404</c:v>
                </c:pt>
                <c:pt idx="86">
                  <c:v>195904</c:v>
                </c:pt>
                <c:pt idx="87">
                  <c:v>186348</c:v>
                </c:pt>
                <c:pt idx="88">
                  <c:v>185541</c:v>
                </c:pt>
                <c:pt idx="89">
                  <c:v>181607</c:v>
                </c:pt>
                <c:pt idx="90">
                  <c:v>188080</c:v>
                </c:pt>
                <c:pt idx="91">
                  <c:v>249849</c:v>
                </c:pt>
                <c:pt idx="92">
                  <c:v>187890</c:v>
                </c:pt>
                <c:pt idx="93">
                  <c:v>200949</c:v>
                </c:pt>
                <c:pt idx="94">
                  <c:v>221561</c:v>
                </c:pt>
                <c:pt idx="95">
                  <c:v>247723</c:v>
                </c:pt>
                <c:pt idx="96">
                  <c:v>259638</c:v>
                </c:pt>
                <c:pt idx="97">
                  <c:v>249169</c:v>
                </c:pt>
                <c:pt idx="98">
                  <c:v>241771</c:v>
                </c:pt>
                <c:pt idx="99">
                  <c:v>222019</c:v>
                </c:pt>
                <c:pt idx="100">
                  <c:v>219175</c:v>
                </c:pt>
                <c:pt idx="101">
                  <c:v>225809</c:v>
                </c:pt>
                <c:pt idx="102">
                  <c:v>239189</c:v>
                </c:pt>
                <c:pt idx="103">
                  <c:v>202677</c:v>
                </c:pt>
                <c:pt idx="104">
                  <c:v>218991</c:v>
                </c:pt>
                <c:pt idx="105">
                  <c:v>281649</c:v>
                </c:pt>
                <c:pt idx="106">
                  <c:v>297192</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493</c:v>
                </c:pt>
                <c:pt idx="39">
                  <c:v>285875</c:v>
                </c:pt>
                <c:pt idx="40">
                  <c:v>294432</c:v>
                </c:pt>
                <c:pt idx="41">
                  <c:v>296527</c:v>
                </c:pt>
                <c:pt idx="42">
                  <c:v>300350</c:v>
                </c:pt>
                <c:pt idx="43">
                  <c:v>304879</c:v>
                </c:pt>
                <c:pt idx="44">
                  <c:v>307649</c:v>
                </c:pt>
                <c:pt idx="45">
                  <c:v>307981</c:v>
                </c:pt>
                <c:pt idx="46">
                  <c:v>305362</c:v>
                </c:pt>
                <c:pt idx="47">
                  <c:v>305364</c:v>
                </c:pt>
                <c:pt idx="48">
                  <c:v>303731</c:v>
                </c:pt>
                <c:pt idx="49">
                  <c:v>303601</c:v>
                </c:pt>
                <c:pt idx="50">
                  <c:v>304442</c:v>
                </c:pt>
                <c:pt idx="51">
                  <c:v>297518</c:v>
                </c:pt>
                <c:pt idx="52">
                  <c:v>304592</c:v>
                </c:pt>
                <c:pt idx="53">
                  <c:v>311082</c:v>
                </c:pt>
                <c:pt idx="54">
                  <c:v>299305</c:v>
                </c:pt>
                <c:pt idx="55">
                  <c:v>276632</c:v>
                </c:pt>
                <c:pt idx="56">
                  <c:v>285907</c:v>
                </c:pt>
                <c:pt idx="57">
                  <c:v>277802</c:v>
                </c:pt>
                <c:pt idx="58">
                  <c:v>265147</c:v>
                </c:pt>
                <c:pt idx="59">
                  <c:v>294078</c:v>
                </c:pt>
                <c:pt idx="60">
                  <c:v>295055</c:v>
                </c:pt>
                <c:pt idx="61">
                  <c:v>287353</c:v>
                </c:pt>
                <c:pt idx="62">
                  <c:v>278368</c:v>
                </c:pt>
                <c:pt idx="63">
                  <c:v>278996</c:v>
                </c:pt>
                <c:pt idx="64">
                  <c:v>279743</c:v>
                </c:pt>
                <c:pt idx="65">
                  <c:v>275241</c:v>
                </c:pt>
                <c:pt idx="66">
                  <c:v>275268</c:v>
                </c:pt>
                <c:pt idx="67">
                  <c:v>263198</c:v>
                </c:pt>
                <c:pt idx="68">
                  <c:v>247678</c:v>
                </c:pt>
                <c:pt idx="69">
                  <c:v>231360</c:v>
                </c:pt>
                <c:pt idx="70">
                  <c:v>201030</c:v>
                </c:pt>
                <c:pt idx="71">
                  <c:v>196995</c:v>
                </c:pt>
                <c:pt idx="72">
                  <c:v>204592</c:v>
                </c:pt>
                <c:pt idx="73">
                  <c:v>190118</c:v>
                </c:pt>
                <c:pt idx="74">
                  <c:v>188644</c:v>
                </c:pt>
                <c:pt idx="75">
                  <c:v>182808</c:v>
                </c:pt>
                <c:pt idx="76">
                  <c:v>187038</c:v>
                </c:pt>
                <c:pt idx="77">
                  <c:v>184219</c:v>
                </c:pt>
                <c:pt idx="78">
                  <c:v>184461</c:v>
                </c:pt>
                <c:pt idx="79">
                  <c:v>184061</c:v>
                </c:pt>
                <c:pt idx="80">
                  <c:v>184722</c:v>
                </c:pt>
                <c:pt idx="81">
                  <c:v>184853</c:v>
                </c:pt>
                <c:pt idx="82">
                  <c:v>188276</c:v>
                </c:pt>
                <c:pt idx="83">
                  <c:v>191798</c:v>
                </c:pt>
                <c:pt idx="84">
                  <c:v>189231</c:v>
                </c:pt>
                <c:pt idx="85">
                  <c:v>190467</c:v>
                </c:pt>
                <c:pt idx="86">
                  <c:v>188839</c:v>
                </c:pt>
                <c:pt idx="87">
                  <c:v>189565</c:v>
                </c:pt>
                <c:pt idx="88">
                  <c:v>197332</c:v>
                </c:pt>
                <c:pt idx="89">
                  <c:v>197618</c:v>
                </c:pt>
                <c:pt idx="90">
                  <c:v>196538</c:v>
                </c:pt>
                <c:pt idx="91">
                  <c:v>198652</c:v>
                </c:pt>
                <c:pt idx="92">
                  <c:v>201537</c:v>
                </c:pt>
                <c:pt idx="93">
                  <c:v>202294</c:v>
                </c:pt>
                <c:pt idx="94">
                  <c:v>204937</c:v>
                </c:pt>
                <c:pt idx="95">
                  <c:v>209925</c:v>
                </c:pt>
                <c:pt idx="96">
                  <c:v>191200</c:v>
                </c:pt>
                <c:pt idx="97">
                  <c:v>192704</c:v>
                </c:pt>
                <c:pt idx="98">
                  <c:v>203498</c:v>
                </c:pt>
                <c:pt idx="99">
                  <c:v>212330</c:v>
                </c:pt>
                <c:pt idx="100">
                  <c:v>203668</c:v>
                </c:pt>
                <c:pt idx="101">
                  <c:v>203304</c:v>
                </c:pt>
                <c:pt idx="102">
                  <c:v>204650</c:v>
                </c:pt>
                <c:pt idx="103">
                  <c:v>204064</c:v>
                </c:pt>
                <c:pt idx="104">
                  <c:v>200961</c:v>
                </c:pt>
                <c:pt idx="105">
                  <c:v>200872</c:v>
                </c:pt>
                <c:pt idx="106">
                  <c:v>204318</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4</c:v>
                </c:pt>
                <c:pt idx="40">
                  <c:v>0.03</c:v>
                </c:pt>
                <c:pt idx="41">
                  <c:v>0.31</c:v>
                </c:pt>
                <c:pt idx="42">
                  <c:v>0.36</c:v>
                </c:pt>
                <c:pt idx="43">
                  <c:v>0.26</c:v>
                </c:pt>
                <c:pt idx="44">
                  <c:v>1</c:v>
                </c:pt>
                <c:pt idx="45">
                  <c:v>1</c:v>
                </c:pt>
                <c:pt idx="46">
                  <c:v>1</c:v>
                </c:pt>
                <c:pt idx="47">
                  <c:v>0.35</c:v>
                </c:pt>
                <c:pt idx="48">
                  <c:v>0.27</c:v>
                </c:pt>
                <c:pt idx="49">
                  <c:v>0.27</c:v>
                </c:pt>
                <c:pt idx="50">
                  <c:v>0.4</c:v>
                </c:pt>
                <c:pt idx="51">
                  <c:v>1</c:v>
                </c:pt>
                <c:pt idx="52">
                  <c:v>1</c:v>
                </c:pt>
                <c:pt idx="53">
                  <c:v>1</c:v>
                </c:pt>
                <c:pt idx="54">
                  <c:v>1</c:v>
                </c:pt>
                <c:pt idx="55">
                  <c:v>0.97</c:v>
                </c:pt>
                <c:pt idx="56">
                  <c:v>0.09</c:v>
                </c:pt>
                <c:pt idx="57">
                  <c:v>0.1</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5180</c:v>
                </c:pt>
                <c:pt idx="1">
                  <c:v>88409</c:v>
                </c:pt>
                <c:pt idx="2">
                  <c:v>89447</c:v>
                </c:pt>
                <c:pt idx="3">
                  <c:v>59726</c:v>
                </c:pt>
                <c:pt idx="4">
                  <c:v>46036</c:v>
                </c:pt>
                <c:pt idx="5">
                  <c:v>64039</c:v>
                </c:pt>
                <c:pt idx="6">
                  <c:v>73915</c:v>
                </c:pt>
                <c:pt idx="7">
                  <c:v>129122</c:v>
                </c:pt>
                <c:pt idx="8">
                  <c:v>92007</c:v>
                </c:pt>
                <c:pt idx="9">
                  <c:v>91984</c:v>
                </c:pt>
                <c:pt idx="10">
                  <c:v>107218</c:v>
                </c:pt>
                <c:pt idx="11">
                  <c:v>114973</c:v>
                </c:pt>
                <c:pt idx="12">
                  <c:v>32310</c:v>
                </c:pt>
                <c:pt idx="13">
                  <c:v>69568</c:v>
                </c:pt>
                <c:pt idx="14">
                  <c:v>94462</c:v>
                </c:pt>
                <c:pt idx="15">
                  <c:v>122577</c:v>
                </c:pt>
                <c:pt idx="16">
                  <c:v>39717</c:v>
                </c:pt>
                <c:pt idx="17">
                  <c:v>10140</c:v>
                </c:pt>
                <c:pt idx="18">
                  <c:v>6383</c:v>
                </c:pt>
                <c:pt idx="19">
                  <c:v>4802</c:v>
                </c:pt>
                <c:pt idx="20">
                  <c:v>5507</c:v>
                </c:pt>
                <c:pt idx="21">
                  <c:v>3840</c:v>
                </c:pt>
                <c:pt idx="22">
                  <c:v>3406</c:v>
                </c:pt>
                <c:pt idx="23">
                  <c:v>2247</c:v>
                </c:pt>
                <c:pt idx="24">
                  <c:v>3999</c:v>
                </c:pt>
                <c:pt idx="25">
                  <c:v>4953</c:v>
                </c:pt>
                <c:pt idx="26">
                  <c:v>2118</c:v>
                </c:pt>
                <c:pt idx="27">
                  <c:v>69468</c:v>
                </c:pt>
                <c:pt idx="28">
                  <c:v>145662</c:v>
                </c:pt>
                <c:pt idx="29">
                  <c:v>41260</c:v>
                </c:pt>
                <c:pt idx="30">
                  <c:v>36778</c:v>
                </c:pt>
                <c:pt idx="31">
                  <c:v>198410</c:v>
                </c:pt>
                <c:pt idx="32">
                  <c:v>418107</c:v>
                </c:pt>
                <c:pt idx="33">
                  <c:v>426460</c:v>
                </c:pt>
                <c:pt idx="34">
                  <c:v>431924</c:v>
                </c:pt>
                <c:pt idx="35">
                  <c:v>404599</c:v>
                </c:pt>
                <c:pt idx="36">
                  <c:v>372312</c:v>
                </c:pt>
                <c:pt idx="37">
                  <c:v>363831</c:v>
                </c:pt>
                <c:pt idx="38">
                  <c:v>368847</c:v>
                </c:pt>
                <c:pt idx="39">
                  <c:v>403738</c:v>
                </c:pt>
                <c:pt idx="40">
                  <c:v>458127</c:v>
                </c:pt>
                <c:pt idx="41">
                  <c:v>465897</c:v>
                </c:pt>
                <c:pt idx="42">
                  <c:v>444034</c:v>
                </c:pt>
                <c:pt idx="43">
                  <c:v>122355</c:v>
                </c:pt>
                <c:pt idx="44">
                  <c:v>109173</c:v>
                </c:pt>
                <c:pt idx="45">
                  <c:v>131651</c:v>
                </c:pt>
                <c:pt idx="46">
                  <c:v>211172</c:v>
                </c:pt>
                <c:pt idx="47">
                  <c:v>225874</c:v>
                </c:pt>
                <c:pt idx="48">
                  <c:v>341235</c:v>
                </c:pt>
                <c:pt idx="49">
                  <c:v>439590</c:v>
                </c:pt>
                <c:pt idx="50">
                  <c:v>813790</c:v>
                </c:pt>
                <c:pt idx="51">
                  <c:v>1062797</c:v>
                </c:pt>
                <c:pt idx="52">
                  <c:v>85491</c:v>
                </c:pt>
                <c:pt idx="53">
                  <c:v>56733</c:v>
                </c:pt>
                <c:pt idx="54">
                  <c:v>29182</c:v>
                </c:pt>
                <c:pt idx="55">
                  <c:v>15846</c:v>
                </c:pt>
                <c:pt idx="56">
                  <c:v>42772</c:v>
                </c:pt>
                <c:pt idx="57">
                  <c:v>74997</c:v>
                </c:pt>
                <c:pt idx="58">
                  <c:v>124054</c:v>
                </c:pt>
                <c:pt idx="59">
                  <c:v>255150</c:v>
                </c:pt>
                <c:pt idx="60">
                  <c:v>165541</c:v>
                </c:pt>
                <c:pt idx="61">
                  <c:v>116751</c:v>
                </c:pt>
                <c:pt idx="62">
                  <c:v>95083</c:v>
                </c:pt>
                <c:pt idx="63">
                  <c:v>191978</c:v>
                </c:pt>
                <c:pt idx="64">
                  <c:v>136823</c:v>
                </c:pt>
                <c:pt idx="65">
                  <c:v>126990</c:v>
                </c:pt>
                <c:pt idx="66">
                  <c:v>132506</c:v>
                </c:pt>
                <c:pt idx="67">
                  <c:v>184973</c:v>
                </c:pt>
                <c:pt idx="68">
                  <c:v>120847</c:v>
                </c:pt>
                <c:pt idx="69">
                  <c:v>123245</c:v>
                </c:pt>
                <c:pt idx="70">
                  <c:v>111737</c:v>
                </c:pt>
                <c:pt idx="71">
                  <c:v>119185</c:v>
                </c:pt>
                <c:pt idx="72">
                  <c:v>121307</c:v>
                </c:pt>
                <c:pt idx="73">
                  <c:v>1146</c:v>
                </c:pt>
                <c:pt idx="74">
                  <c:v>1941</c:v>
                </c:pt>
                <c:pt idx="75">
                  <c:v>1686</c:v>
                </c:pt>
                <c:pt idx="76">
                  <c:v>3451</c:v>
                </c:pt>
                <c:pt idx="77">
                  <c:v>1179</c:v>
                </c:pt>
                <c:pt idx="78">
                  <c:v>3092</c:v>
                </c:pt>
                <c:pt idx="79">
                  <c:v>28950</c:v>
                </c:pt>
                <c:pt idx="80">
                  <c:v>53278</c:v>
                </c:pt>
                <c:pt idx="81">
                  <c:v>54784</c:v>
                </c:pt>
                <c:pt idx="82">
                  <c:v>52953</c:v>
                </c:pt>
                <c:pt idx="83">
                  <c:v>15426</c:v>
                </c:pt>
                <c:pt idx="84">
                  <c:v>13768</c:v>
                </c:pt>
                <c:pt idx="85">
                  <c:v>1571</c:v>
                </c:pt>
                <c:pt idx="86">
                  <c:v>8979</c:v>
                </c:pt>
                <c:pt idx="87">
                  <c:v>1795</c:v>
                </c:pt>
                <c:pt idx="88">
                  <c:v>2002</c:v>
                </c:pt>
                <c:pt idx="89">
                  <c:v>1765</c:v>
                </c:pt>
                <c:pt idx="90">
                  <c:v>28288</c:v>
                </c:pt>
                <c:pt idx="91">
                  <c:v>69324</c:v>
                </c:pt>
                <c:pt idx="92">
                  <c:v>133417</c:v>
                </c:pt>
                <c:pt idx="93">
                  <c:v>187535</c:v>
                </c:pt>
                <c:pt idx="94">
                  <c:v>132290</c:v>
                </c:pt>
                <c:pt idx="95">
                  <c:v>73051</c:v>
                </c:pt>
                <c:pt idx="96">
                  <c:v>92941</c:v>
                </c:pt>
                <c:pt idx="97">
                  <c:v>162895</c:v>
                </c:pt>
                <c:pt idx="98">
                  <c:v>294214</c:v>
                </c:pt>
                <c:pt idx="99">
                  <c:v>404954</c:v>
                </c:pt>
                <c:pt idx="100">
                  <c:v>486127</c:v>
                </c:pt>
                <c:pt idx="101">
                  <c:v>521428</c:v>
                </c:pt>
                <c:pt idx="102">
                  <c:v>642270</c:v>
                </c:pt>
                <c:pt idx="103">
                  <c:v>904039</c:v>
                </c:pt>
                <c:pt idx="104">
                  <c:v>177095</c:v>
                </c:pt>
                <c:pt idx="105">
                  <c:v>153782</c:v>
                </c:pt>
                <c:pt idx="106">
                  <c:v>151663</c:v>
                </c:pt>
                <c:pt idx="107">
                  <c:v>13667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7533</c:v>
                </c:pt>
                <c:pt idx="1">
                  <c:v>624511</c:v>
                </c:pt>
                <c:pt idx="2">
                  <c:v>616456</c:v>
                </c:pt>
                <c:pt idx="3">
                  <c:v>597714</c:v>
                </c:pt>
                <c:pt idx="4">
                  <c:v>621143</c:v>
                </c:pt>
                <c:pt idx="5">
                  <c:v>629988</c:v>
                </c:pt>
                <c:pt idx="6">
                  <c:v>599329</c:v>
                </c:pt>
                <c:pt idx="7">
                  <c:v>619718</c:v>
                </c:pt>
                <c:pt idx="8">
                  <c:v>663577</c:v>
                </c:pt>
                <c:pt idx="9">
                  <c:v>613201</c:v>
                </c:pt>
                <c:pt idx="10">
                  <c:v>600768</c:v>
                </c:pt>
                <c:pt idx="11">
                  <c:v>609569</c:v>
                </c:pt>
                <c:pt idx="12">
                  <c:v>634250</c:v>
                </c:pt>
                <c:pt idx="13">
                  <c:v>664856</c:v>
                </c:pt>
                <c:pt idx="14">
                  <c:v>569088</c:v>
                </c:pt>
                <c:pt idx="15">
                  <c:v>625259</c:v>
                </c:pt>
                <c:pt idx="16">
                  <c:v>630508</c:v>
                </c:pt>
                <c:pt idx="17">
                  <c:v>696887</c:v>
                </c:pt>
                <c:pt idx="18">
                  <c:v>655442</c:v>
                </c:pt>
                <c:pt idx="19">
                  <c:v>651329</c:v>
                </c:pt>
                <c:pt idx="20">
                  <c:v>705562</c:v>
                </c:pt>
                <c:pt idx="21">
                  <c:v>726074</c:v>
                </c:pt>
                <c:pt idx="22">
                  <c:v>734894</c:v>
                </c:pt>
                <c:pt idx="23">
                  <c:v>710792</c:v>
                </c:pt>
                <c:pt idx="24">
                  <c:v>696850</c:v>
                </c:pt>
                <c:pt idx="25">
                  <c:v>712847</c:v>
                </c:pt>
                <c:pt idx="26">
                  <c:v>739663</c:v>
                </c:pt>
                <c:pt idx="27">
                  <c:v>657418</c:v>
                </c:pt>
                <c:pt idx="28">
                  <c:v>633757</c:v>
                </c:pt>
                <c:pt idx="29">
                  <c:v>682925</c:v>
                </c:pt>
                <c:pt idx="30">
                  <c:v>732340</c:v>
                </c:pt>
                <c:pt idx="31">
                  <c:v>535979</c:v>
                </c:pt>
                <c:pt idx="32">
                  <c:v>332627</c:v>
                </c:pt>
                <c:pt idx="33">
                  <c:v>303557</c:v>
                </c:pt>
                <c:pt idx="34">
                  <c:v>311441</c:v>
                </c:pt>
                <c:pt idx="35">
                  <c:v>329061</c:v>
                </c:pt>
                <c:pt idx="36">
                  <c:v>319282</c:v>
                </c:pt>
                <c:pt idx="37">
                  <c:v>313048</c:v>
                </c:pt>
                <c:pt idx="38">
                  <c:v>308824</c:v>
                </c:pt>
                <c:pt idx="39">
                  <c:v>314684</c:v>
                </c:pt>
                <c:pt idx="40">
                  <c:v>285068</c:v>
                </c:pt>
                <c:pt idx="41">
                  <c:v>286174</c:v>
                </c:pt>
                <c:pt idx="42">
                  <c:v>290786</c:v>
                </c:pt>
                <c:pt idx="43">
                  <c:v>641780</c:v>
                </c:pt>
                <c:pt idx="44">
                  <c:v>671418</c:v>
                </c:pt>
                <c:pt idx="45">
                  <c:v>642178</c:v>
                </c:pt>
                <c:pt idx="46">
                  <c:v>595350</c:v>
                </c:pt>
                <c:pt idx="47">
                  <c:v>634376</c:v>
                </c:pt>
                <c:pt idx="48">
                  <c:v>646642</c:v>
                </c:pt>
                <c:pt idx="49">
                  <c:v>630619</c:v>
                </c:pt>
                <c:pt idx="50">
                  <c:v>678751</c:v>
                </c:pt>
                <c:pt idx="51">
                  <c:v>504651</c:v>
                </c:pt>
                <c:pt idx="52">
                  <c:v>555168</c:v>
                </c:pt>
                <c:pt idx="53">
                  <c:v>502025</c:v>
                </c:pt>
                <c:pt idx="54">
                  <c:v>534615</c:v>
                </c:pt>
                <c:pt idx="55">
                  <c:v>587327</c:v>
                </c:pt>
                <c:pt idx="56">
                  <c:v>587826</c:v>
                </c:pt>
                <c:pt idx="57">
                  <c:v>565396</c:v>
                </c:pt>
                <c:pt idx="58">
                  <c:v>480523</c:v>
                </c:pt>
                <c:pt idx="59">
                  <c:v>468901</c:v>
                </c:pt>
                <c:pt idx="60">
                  <c:v>512220</c:v>
                </c:pt>
                <c:pt idx="61">
                  <c:v>537435</c:v>
                </c:pt>
                <c:pt idx="62">
                  <c:v>523052</c:v>
                </c:pt>
                <c:pt idx="63">
                  <c:v>478096</c:v>
                </c:pt>
                <c:pt idx="64">
                  <c:v>512362</c:v>
                </c:pt>
                <c:pt idx="65">
                  <c:v>512607</c:v>
                </c:pt>
                <c:pt idx="66">
                  <c:v>484377</c:v>
                </c:pt>
                <c:pt idx="67">
                  <c:v>488426</c:v>
                </c:pt>
                <c:pt idx="68">
                  <c:v>488309</c:v>
                </c:pt>
                <c:pt idx="69">
                  <c:v>516786</c:v>
                </c:pt>
                <c:pt idx="70">
                  <c:v>513598</c:v>
                </c:pt>
                <c:pt idx="71">
                  <c:v>482095</c:v>
                </c:pt>
                <c:pt idx="72">
                  <c:v>546756</c:v>
                </c:pt>
                <c:pt idx="73">
                  <c:v>610299</c:v>
                </c:pt>
                <c:pt idx="74">
                  <c:v>658475</c:v>
                </c:pt>
                <c:pt idx="75">
                  <c:v>621002</c:v>
                </c:pt>
                <c:pt idx="76">
                  <c:v>618826</c:v>
                </c:pt>
                <c:pt idx="77">
                  <c:v>616269</c:v>
                </c:pt>
                <c:pt idx="78">
                  <c:v>666258</c:v>
                </c:pt>
                <c:pt idx="79">
                  <c:v>591776</c:v>
                </c:pt>
                <c:pt idx="80">
                  <c:v>575625</c:v>
                </c:pt>
                <c:pt idx="81">
                  <c:v>561907</c:v>
                </c:pt>
                <c:pt idx="82">
                  <c:v>586645</c:v>
                </c:pt>
                <c:pt idx="83">
                  <c:v>610820</c:v>
                </c:pt>
                <c:pt idx="84">
                  <c:v>605606</c:v>
                </c:pt>
                <c:pt idx="85">
                  <c:v>608295</c:v>
                </c:pt>
                <c:pt idx="86">
                  <c:v>598295</c:v>
                </c:pt>
                <c:pt idx="87">
                  <c:v>614547</c:v>
                </c:pt>
                <c:pt idx="88">
                  <c:v>573590</c:v>
                </c:pt>
                <c:pt idx="89">
                  <c:v>576269</c:v>
                </c:pt>
                <c:pt idx="90">
                  <c:v>540650</c:v>
                </c:pt>
                <c:pt idx="91">
                  <c:v>592286</c:v>
                </c:pt>
                <c:pt idx="92">
                  <c:v>477483</c:v>
                </c:pt>
                <c:pt idx="93">
                  <c:v>465525</c:v>
                </c:pt>
                <c:pt idx="94">
                  <c:v>507952</c:v>
                </c:pt>
                <c:pt idx="95">
                  <c:v>572331</c:v>
                </c:pt>
                <c:pt idx="96">
                  <c:v>594233</c:v>
                </c:pt>
                <c:pt idx="97">
                  <c:v>515776</c:v>
                </c:pt>
                <c:pt idx="98">
                  <c:v>396735</c:v>
                </c:pt>
                <c:pt idx="99">
                  <c:v>330946</c:v>
                </c:pt>
                <c:pt idx="100">
                  <c:v>362280</c:v>
                </c:pt>
                <c:pt idx="101">
                  <c:v>391394</c:v>
                </c:pt>
                <c:pt idx="102">
                  <c:v>446170</c:v>
                </c:pt>
                <c:pt idx="103">
                  <c:v>411026</c:v>
                </c:pt>
                <c:pt idx="104">
                  <c:v>400337</c:v>
                </c:pt>
                <c:pt idx="105">
                  <c:v>374460</c:v>
                </c:pt>
                <c:pt idx="106">
                  <c:v>400925</c:v>
                </c:pt>
                <c:pt idx="107">
                  <c:v>36594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2713</c:v>
                </c:pt>
                <c:pt idx="1">
                  <c:v>712920</c:v>
                </c:pt>
                <c:pt idx="2">
                  <c:v>705903</c:v>
                </c:pt>
                <c:pt idx="3">
                  <c:v>657440</c:v>
                </c:pt>
                <c:pt idx="4">
                  <c:v>667179</c:v>
                </c:pt>
                <c:pt idx="5">
                  <c:v>694027</c:v>
                </c:pt>
                <c:pt idx="6">
                  <c:v>673244</c:v>
                </c:pt>
                <c:pt idx="7">
                  <c:v>748840</c:v>
                </c:pt>
                <c:pt idx="8">
                  <c:v>755584</c:v>
                </c:pt>
                <c:pt idx="9">
                  <c:v>705185</c:v>
                </c:pt>
                <c:pt idx="10">
                  <c:v>707986</c:v>
                </c:pt>
                <c:pt idx="11">
                  <c:v>724542</c:v>
                </c:pt>
                <c:pt idx="12">
                  <c:v>666560</c:v>
                </c:pt>
                <c:pt idx="13">
                  <c:v>734424</c:v>
                </c:pt>
                <c:pt idx="14">
                  <c:v>663550</c:v>
                </c:pt>
                <c:pt idx="15">
                  <c:v>747836</c:v>
                </c:pt>
                <c:pt idx="16">
                  <c:v>670225</c:v>
                </c:pt>
                <c:pt idx="17">
                  <c:v>707027</c:v>
                </c:pt>
                <c:pt idx="18">
                  <c:v>661825</c:v>
                </c:pt>
                <c:pt idx="19">
                  <c:v>656131</c:v>
                </c:pt>
                <c:pt idx="20">
                  <c:v>711069</c:v>
                </c:pt>
                <c:pt idx="21">
                  <c:v>729914</c:v>
                </c:pt>
                <c:pt idx="22">
                  <c:v>738300</c:v>
                </c:pt>
                <c:pt idx="23">
                  <c:v>713039</c:v>
                </c:pt>
                <c:pt idx="24">
                  <c:v>700849</c:v>
                </c:pt>
                <c:pt idx="25">
                  <c:v>717800</c:v>
                </c:pt>
                <c:pt idx="26">
                  <c:v>741781</c:v>
                </c:pt>
                <c:pt idx="27">
                  <c:v>726886</c:v>
                </c:pt>
                <c:pt idx="28">
                  <c:v>779419</c:v>
                </c:pt>
                <c:pt idx="29">
                  <c:v>724185</c:v>
                </c:pt>
                <c:pt idx="30">
                  <c:v>769118</c:v>
                </c:pt>
                <c:pt idx="31">
                  <c:v>734389</c:v>
                </c:pt>
                <c:pt idx="32">
                  <c:v>750734</c:v>
                </c:pt>
                <c:pt idx="33">
                  <c:v>730017</c:v>
                </c:pt>
                <c:pt idx="34">
                  <c:v>743365</c:v>
                </c:pt>
                <c:pt idx="35">
                  <c:v>733660</c:v>
                </c:pt>
                <c:pt idx="36">
                  <c:v>691594</c:v>
                </c:pt>
                <c:pt idx="37">
                  <c:v>676879</c:v>
                </c:pt>
                <c:pt idx="38">
                  <c:v>677671</c:v>
                </c:pt>
                <c:pt idx="39">
                  <c:v>718422</c:v>
                </c:pt>
                <c:pt idx="40">
                  <c:v>743195</c:v>
                </c:pt>
                <c:pt idx="41">
                  <c:v>752071</c:v>
                </c:pt>
                <c:pt idx="42">
                  <c:v>734820</c:v>
                </c:pt>
                <c:pt idx="43">
                  <c:v>764135</c:v>
                </c:pt>
                <c:pt idx="44">
                  <c:v>780591</c:v>
                </c:pt>
                <c:pt idx="45">
                  <c:v>773829</c:v>
                </c:pt>
                <c:pt idx="46">
                  <c:v>806522</c:v>
                </c:pt>
                <c:pt idx="47">
                  <c:v>860250</c:v>
                </c:pt>
                <c:pt idx="48">
                  <c:v>987877</c:v>
                </c:pt>
                <c:pt idx="49">
                  <c:v>1070209</c:v>
                </c:pt>
                <c:pt idx="50">
                  <c:v>1492541</c:v>
                </c:pt>
                <c:pt idx="51">
                  <c:v>1567448</c:v>
                </c:pt>
                <c:pt idx="52">
                  <c:v>640659</c:v>
                </c:pt>
                <c:pt idx="53">
                  <c:v>558758</c:v>
                </c:pt>
                <c:pt idx="54">
                  <c:v>563797</c:v>
                </c:pt>
                <c:pt idx="55">
                  <c:v>603173</c:v>
                </c:pt>
                <c:pt idx="56">
                  <c:v>630598</c:v>
                </c:pt>
                <c:pt idx="57">
                  <c:v>640393</c:v>
                </c:pt>
                <c:pt idx="58">
                  <c:v>604577</c:v>
                </c:pt>
                <c:pt idx="59">
                  <c:v>724051</c:v>
                </c:pt>
                <c:pt idx="60">
                  <c:v>677761</c:v>
                </c:pt>
                <c:pt idx="61">
                  <c:v>654186</c:v>
                </c:pt>
                <c:pt idx="62">
                  <c:v>618135</c:v>
                </c:pt>
                <c:pt idx="63">
                  <c:v>670074</c:v>
                </c:pt>
                <c:pt idx="64">
                  <c:v>649185</c:v>
                </c:pt>
                <c:pt idx="65">
                  <c:v>639597</c:v>
                </c:pt>
                <c:pt idx="66">
                  <c:v>616883</c:v>
                </c:pt>
                <c:pt idx="67">
                  <c:v>673399</c:v>
                </c:pt>
                <c:pt idx="68">
                  <c:v>609156</c:v>
                </c:pt>
                <c:pt idx="69">
                  <c:v>640031</c:v>
                </c:pt>
                <c:pt idx="70">
                  <c:v>625335</c:v>
                </c:pt>
                <c:pt idx="71">
                  <c:v>601280</c:v>
                </c:pt>
                <c:pt idx="72">
                  <c:v>668063</c:v>
                </c:pt>
                <c:pt idx="73">
                  <c:v>611445</c:v>
                </c:pt>
                <c:pt idx="74">
                  <c:v>660416</c:v>
                </c:pt>
                <c:pt idx="75">
                  <c:v>622688</c:v>
                </c:pt>
                <c:pt idx="76">
                  <c:v>622277</c:v>
                </c:pt>
                <c:pt idx="77">
                  <c:v>617448</c:v>
                </c:pt>
                <c:pt idx="78">
                  <c:v>669350</c:v>
                </c:pt>
                <c:pt idx="79">
                  <c:v>620726</c:v>
                </c:pt>
                <c:pt idx="80">
                  <c:v>628903</c:v>
                </c:pt>
                <c:pt idx="81">
                  <c:v>616691</c:v>
                </c:pt>
                <c:pt idx="82">
                  <c:v>639598</c:v>
                </c:pt>
                <c:pt idx="83">
                  <c:v>626246</c:v>
                </c:pt>
                <c:pt idx="84">
                  <c:v>619374</c:v>
                </c:pt>
                <c:pt idx="85">
                  <c:v>609866</c:v>
                </c:pt>
                <c:pt idx="86">
                  <c:v>607274</c:v>
                </c:pt>
                <c:pt idx="87">
                  <c:v>616342</c:v>
                </c:pt>
                <c:pt idx="88">
                  <c:v>575592</c:v>
                </c:pt>
                <c:pt idx="89">
                  <c:v>578034</c:v>
                </c:pt>
                <c:pt idx="90">
                  <c:v>568938</c:v>
                </c:pt>
                <c:pt idx="91">
                  <c:v>661610</c:v>
                </c:pt>
                <c:pt idx="92">
                  <c:v>610900</c:v>
                </c:pt>
                <c:pt idx="93">
                  <c:v>653060</c:v>
                </c:pt>
                <c:pt idx="94">
                  <c:v>640242</c:v>
                </c:pt>
                <c:pt idx="95">
                  <c:v>645382</c:v>
                </c:pt>
                <c:pt idx="96">
                  <c:v>687174</c:v>
                </c:pt>
                <c:pt idx="97">
                  <c:v>678671</c:v>
                </c:pt>
                <c:pt idx="98">
                  <c:v>690949</c:v>
                </c:pt>
                <c:pt idx="99">
                  <c:v>735900</c:v>
                </c:pt>
                <c:pt idx="100">
                  <c:v>848407</c:v>
                </c:pt>
                <c:pt idx="101">
                  <c:v>912822</c:v>
                </c:pt>
                <c:pt idx="102">
                  <c:v>1088440</c:v>
                </c:pt>
                <c:pt idx="103">
                  <c:v>1315065</c:v>
                </c:pt>
                <c:pt idx="104">
                  <c:v>577432</c:v>
                </c:pt>
                <c:pt idx="105">
                  <c:v>528242</c:v>
                </c:pt>
                <c:pt idx="106">
                  <c:v>552588</c:v>
                </c:pt>
                <c:pt idx="107">
                  <c:v>502625</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51397</c:v>
                </c:pt>
                <c:pt idx="1">
                  <c:v>652516</c:v>
                </c:pt>
                <c:pt idx="2">
                  <c:v>657933</c:v>
                </c:pt>
                <c:pt idx="3">
                  <c:v>659238</c:v>
                </c:pt>
                <c:pt idx="4">
                  <c:v>666366</c:v>
                </c:pt>
                <c:pt idx="5">
                  <c:v>675155</c:v>
                </c:pt>
                <c:pt idx="6">
                  <c:v>685254</c:v>
                </c:pt>
                <c:pt idx="7">
                  <c:v>700146</c:v>
                </c:pt>
                <c:pt idx="8">
                  <c:v>710837</c:v>
                </c:pt>
                <c:pt idx="9">
                  <c:v>712167</c:v>
                </c:pt>
                <c:pt idx="10">
                  <c:v>709578</c:v>
                </c:pt>
                <c:pt idx="11">
                  <c:v>707820</c:v>
                </c:pt>
                <c:pt idx="12">
                  <c:v>708068</c:v>
                </c:pt>
                <c:pt idx="13">
                  <c:v>699334</c:v>
                </c:pt>
                <c:pt idx="14">
                  <c:v>699989</c:v>
                </c:pt>
                <c:pt idx="15">
                  <c:v>695345</c:v>
                </c:pt>
                <c:pt idx="16">
                  <c:v>686651</c:v>
                </c:pt>
                <c:pt idx="17">
                  <c:v>691715</c:v>
                </c:pt>
                <c:pt idx="18">
                  <c:v>692229</c:v>
                </c:pt>
                <c:pt idx="19">
                  <c:v>701351</c:v>
                </c:pt>
                <c:pt idx="20">
                  <c:v>698799</c:v>
                </c:pt>
                <c:pt idx="21">
                  <c:v>702574</c:v>
                </c:pt>
                <c:pt idx="22">
                  <c:v>704338</c:v>
                </c:pt>
                <c:pt idx="23">
                  <c:v>714326</c:v>
                </c:pt>
                <c:pt idx="24">
                  <c:v>722611</c:v>
                </c:pt>
                <c:pt idx="25">
                  <c:v>730574</c:v>
                </c:pt>
                <c:pt idx="26">
                  <c:v>729468</c:v>
                </c:pt>
                <c:pt idx="27">
                  <c:v>732166</c:v>
                </c:pt>
                <c:pt idx="28">
                  <c:v>736680</c:v>
                </c:pt>
                <c:pt idx="29">
                  <c:v>741857</c:v>
                </c:pt>
                <c:pt idx="30">
                  <c:v>743875</c:v>
                </c:pt>
                <c:pt idx="31">
                  <c:v>745721</c:v>
                </c:pt>
                <c:pt idx="32">
                  <c:v>747569</c:v>
                </c:pt>
                <c:pt idx="33">
                  <c:v>735512</c:v>
                </c:pt>
                <c:pt idx="34">
                  <c:v>742145</c:v>
                </c:pt>
                <c:pt idx="35">
                  <c:v>734840</c:v>
                </c:pt>
                <c:pt idx="36">
                  <c:v>731731</c:v>
                </c:pt>
                <c:pt idx="37">
                  <c:v>724420</c:v>
                </c:pt>
                <c:pt idx="38">
                  <c:v>721969</c:v>
                </c:pt>
                <c:pt idx="39">
                  <c:v>719373</c:v>
                </c:pt>
                <c:pt idx="40">
                  <c:v>760150</c:v>
                </c:pt>
                <c:pt idx="41">
                  <c:v>778514</c:v>
                </c:pt>
                <c:pt idx="42">
                  <c:v>751839</c:v>
                </c:pt>
                <c:pt idx="43">
                  <c:v>732354</c:v>
                </c:pt>
                <c:pt idx="44">
                  <c:v>741709</c:v>
                </c:pt>
                <c:pt idx="45">
                  <c:v>767362</c:v>
                </c:pt>
                <c:pt idx="46">
                  <c:v>775184</c:v>
                </c:pt>
                <c:pt idx="47">
                  <c:v>783225</c:v>
                </c:pt>
                <c:pt idx="48">
                  <c:v>766902</c:v>
                </c:pt>
                <c:pt idx="49">
                  <c:v>749516</c:v>
                </c:pt>
                <c:pt idx="50">
                  <c:v>735380</c:v>
                </c:pt>
                <c:pt idx="51">
                  <c:v>783804</c:v>
                </c:pt>
                <c:pt idx="52">
                  <c:v>728139</c:v>
                </c:pt>
                <c:pt idx="53">
                  <c:v>672836</c:v>
                </c:pt>
                <c:pt idx="54">
                  <c:v>619060</c:v>
                </c:pt>
                <c:pt idx="55">
                  <c:v>582559</c:v>
                </c:pt>
                <c:pt idx="56">
                  <c:v>600830</c:v>
                </c:pt>
                <c:pt idx="57">
                  <c:v>627199</c:v>
                </c:pt>
                <c:pt idx="58">
                  <c:v>633544</c:v>
                </c:pt>
                <c:pt idx="59">
                  <c:v>643027</c:v>
                </c:pt>
                <c:pt idx="60">
                  <c:v>654269</c:v>
                </c:pt>
                <c:pt idx="61">
                  <c:v>655675</c:v>
                </c:pt>
                <c:pt idx="62">
                  <c:v>655246</c:v>
                </c:pt>
                <c:pt idx="63">
                  <c:v>655162</c:v>
                </c:pt>
                <c:pt idx="64">
                  <c:v>650185</c:v>
                </c:pt>
                <c:pt idx="65">
                  <c:v>643642</c:v>
                </c:pt>
                <c:pt idx="66">
                  <c:v>641091</c:v>
                </c:pt>
                <c:pt idx="67">
                  <c:v>638036</c:v>
                </c:pt>
                <c:pt idx="68">
                  <c:v>626117</c:v>
                </c:pt>
                <c:pt idx="69">
                  <c:v>629069</c:v>
                </c:pt>
                <c:pt idx="70">
                  <c:v>626447</c:v>
                </c:pt>
                <c:pt idx="71">
                  <c:v>631369</c:v>
                </c:pt>
                <c:pt idx="72">
                  <c:v>629882</c:v>
                </c:pt>
                <c:pt idx="73">
                  <c:v>629889</c:v>
                </c:pt>
                <c:pt idx="74">
                  <c:v>627617</c:v>
                </c:pt>
                <c:pt idx="75">
                  <c:v>633696</c:v>
                </c:pt>
                <c:pt idx="76">
                  <c:v>635980</c:v>
                </c:pt>
                <c:pt idx="77">
                  <c:v>631960</c:v>
                </c:pt>
                <c:pt idx="78">
                  <c:v>632536</c:v>
                </c:pt>
                <c:pt idx="79">
                  <c:v>629480</c:v>
                </c:pt>
                <c:pt idx="80">
                  <c:v>629999</c:v>
                </c:pt>
                <c:pt idx="81">
                  <c:v>629146</c:v>
                </c:pt>
                <c:pt idx="82">
                  <c:v>629423</c:v>
                </c:pt>
                <c:pt idx="83">
                  <c:v>621074</c:v>
                </c:pt>
                <c:pt idx="84">
                  <c:v>620551</c:v>
                </c:pt>
                <c:pt idx="85">
                  <c:v>614180</c:v>
                </c:pt>
                <c:pt idx="86">
                  <c:v>609234</c:v>
                </c:pt>
                <c:pt idx="87">
                  <c:v>600611</c:v>
                </c:pt>
                <c:pt idx="88">
                  <c:v>604403</c:v>
                </c:pt>
                <c:pt idx="89">
                  <c:v>601222</c:v>
                </c:pt>
                <c:pt idx="90">
                  <c:v>599614</c:v>
                </c:pt>
                <c:pt idx="91">
                  <c:v>596983</c:v>
                </c:pt>
                <c:pt idx="92">
                  <c:v>603413</c:v>
                </c:pt>
                <c:pt idx="93">
                  <c:v>642096</c:v>
                </c:pt>
                <c:pt idx="94">
                  <c:v>653356</c:v>
                </c:pt>
                <c:pt idx="95">
                  <c:v>664341</c:v>
                </c:pt>
                <c:pt idx="96">
                  <c:v>668589</c:v>
                </c:pt>
                <c:pt idx="97">
                  <c:v>679054</c:v>
                </c:pt>
                <c:pt idx="98">
                  <c:v>688837</c:v>
                </c:pt>
                <c:pt idx="99">
                  <c:v>688432</c:v>
                </c:pt>
                <c:pt idx="100">
                  <c:v>698884</c:v>
                </c:pt>
                <c:pt idx="101">
                  <c:v>696475</c:v>
                </c:pt>
                <c:pt idx="102">
                  <c:v>693492</c:v>
                </c:pt>
                <c:pt idx="103">
                  <c:v>690715</c:v>
                </c:pt>
                <c:pt idx="104">
                  <c:v>605388</c:v>
                </c:pt>
                <c:pt idx="105">
                  <c:v>560884</c:v>
                </c:pt>
                <c:pt idx="106">
                  <c:v>586731</c:v>
                </c:pt>
                <c:pt idx="107">
                  <c:v>56516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01</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79</c:v>
                </c:pt>
                <c:pt idx="37">
                  <c:v>0.79</c:v>
                </c:pt>
                <c:pt idx="38">
                  <c:v>0.78</c:v>
                </c:pt>
                <c:pt idx="39">
                  <c:v>0.79</c:v>
                </c:pt>
                <c:pt idx="40">
                  <c:v>0.81</c:v>
                </c:pt>
                <c:pt idx="41">
                  <c:v>0.8</c:v>
                </c:pt>
                <c:pt idx="42">
                  <c:v>0.79</c:v>
                </c:pt>
                <c:pt idx="43">
                  <c:v>0.09</c:v>
                </c:pt>
                <c:pt idx="44">
                  <c:v>0.08</c:v>
                </c:pt>
                <c:pt idx="45">
                  <c:v>0.11</c:v>
                </c:pt>
                <c:pt idx="46">
                  <c:v>0.17</c:v>
                </c:pt>
                <c:pt idx="47">
                  <c:v>0.17</c:v>
                </c:pt>
                <c:pt idx="48">
                  <c:v>0.26</c:v>
                </c:pt>
                <c:pt idx="49">
                  <c:v>0.28999999999999998</c:v>
                </c:pt>
                <c:pt idx="50">
                  <c:v>0.38</c:v>
                </c:pt>
                <c:pt idx="51">
                  <c:v>0.6</c:v>
                </c:pt>
                <c:pt idx="52">
                  <c:v>0.1</c:v>
                </c:pt>
                <c:pt idx="53">
                  <c:v>0.11</c:v>
                </c:pt>
                <c:pt idx="54">
                  <c:v>0.06</c:v>
                </c:pt>
                <c:pt idx="55">
                  <c:v>0.03</c:v>
                </c:pt>
                <c:pt idx="56">
                  <c:v>0.05</c:v>
                </c:pt>
                <c:pt idx="57">
                  <c:v>0.08</c:v>
                </c:pt>
                <c:pt idx="58">
                  <c:v>0.17</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24887</c:v>
                </c:pt>
                <c:pt idx="1">
                  <c:v>88325</c:v>
                </c:pt>
                <c:pt idx="2">
                  <c:v>89322</c:v>
                </c:pt>
                <c:pt idx="3">
                  <c:v>59592</c:v>
                </c:pt>
                <c:pt idx="4">
                  <c:v>45985</c:v>
                </c:pt>
                <c:pt idx="5">
                  <c:v>63369</c:v>
                </c:pt>
                <c:pt idx="6">
                  <c:v>73309</c:v>
                </c:pt>
                <c:pt idx="7">
                  <c:v>128560</c:v>
                </c:pt>
                <c:pt idx="8">
                  <c:v>91762</c:v>
                </c:pt>
                <c:pt idx="9">
                  <c:v>91581</c:v>
                </c:pt>
                <c:pt idx="10">
                  <c:v>106666</c:v>
                </c:pt>
                <c:pt idx="11">
                  <c:v>114310</c:v>
                </c:pt>
                <c:pt idx="12">
                  <c:v>31424</c:v>
                </c:pt>
                <c:pt idx="13">
                  <c:v>68736</c:v>
                </c:pt>
                <c:pt idx="14">
                  <c:v>94095</c:v>
                </c:pt>
                <c:pt idx="15">
                  <c:v>121812</c:v>
                </c:pt>
                <c:pt idx="16">
                  <c:v>38957</c:v>
                </c:pt>
                <c:pt idx="17">
                  <c:v>9496</c:v>
                </c:pt>
                <c:pt idx="18">
                  <c:v>5832</c:v>
                </c:pt>
                <c:pt idx="19">
                  <c:v>4267</c:v>
                </c:pt>
                <c:pt idx="20">
                  <c:v>4756</c:v>
                </c:pt>
                <c:pt idx="21">
                  <c:v>3469</c:v>
                </c:pt>
                <c:pt idx="22">
                  <c:v>2581</c:v>
                </c:pt>
                <c:pt idx="23">
                  <c:v>1622</c:v>
                </c:pt>
                <c:pt idx="24">
                  <c:v>3609</c:v>
                </c:pt>
                <c:pt idx="25">
                  <c:v>4457</c:v>
                </c:pt>
                <c:pt idx="26">
                  <c:v>1354</c:v>
                </c:pt>
                <c:pt idx="27">
                  <c:v>68915</c:v>
                </c:pt>
                <c:pt idx="28">
                  <c:v>145023</c:v>
                </c:pt>
                <c:pt idx="29">
                  <c:v>40635</c:v>
                </c:pt>
                <c:pt idx="30">
                  <c:v>36175</c:v>
                </c:pt>
                <c:pt idx="31">
                  <c:v>197993</c:v>
                </c:pt>
                <c:pt idx="32">
                  <c:v>417496</c:v>
                </c:pt>
                <c:pt idx="33">
                  <c:v>425979</c:v>
                </c:pt>
                <c:pt idx="34">
                  <c:v>431490</c:v>
                </c:pt>
                <c:pt idx="35">
                  <c:v>404046</c:v>
                </c:pt>
                <c:pt idx="36">
                  <c:v>371595</c:v>
                </c:pt>
                <c:pt idx="37">
                  <c:v>363183</c:v>
                </c:pt>
                <c:pt idx="38">
                  <c:v>368295</c:v>
                </c:pt>
                <c:pt idx="39">
                  <c:v>402877</c:v>
                </c:pt>
                <c:pt idx="40">
                  <c:v>452050</c:v>
                </c:pt>
                <c:pt idx="41">
                  <c:v>455627</c:v>
                </c:pt>
                <c:pt idx="42">
                  <c:v>432227</c:v>
                </c:pt>
                <c:pt idx="43">
                  <c:v>109570</c:v>
                </c:pt>
                <c:pt idx="44">
                  <c:v>92929</c:v>
                </c:pt>
                <c:pt idx="45">
                  <c:v>111800</c:v>
                </c:pt>
                <c:pt idx="46">
                  <c:v>173588</c:v>
                </c:pt>
                <c:pt idx="47">
                  <c:v>190142</c:v>
                </c:pt>
                <c:pt idx="48">
                  <c:v>285756</c:v>
                </c:pt>
                <c:pt idx="49">
                  <c:v>347454</c:v>
                </c:pt>
                <c:pt idx="50">
                  <c:v>588849</c:v>
                </c:pt>
                <c:pt idx="51">
                  <c:v>619477</c:v>
                </c:pt>
                <c:pt idx="52">
                  <c:v>22478</c:v>
                </c:pt>
                <c:pt idx="53">
                  <c:v>46048</c:v>
                </c:pt>
                <c:pt idx="54">
                  <c:v>22951</c:v>
                </c:pt>
                <c:pt idx="55">
                  <c:v>11239</c:v>
                </c:pt>
                <c:pt idx="56">
                  <c:v>40758</c:v>
                </c:pt>
                <c:pt idx="57">
                  <c:v>73442</c:v>
                </c:pt>
                <c:pt idx="58">
                  <c:v>123274</c:v>
                </c:pt>
                <c:pt idx="59">
                  <c:v>254506</c:v>
                </c:pt>
                <c:pt idx="60">
                  <c:v>165008</c:v>
                </c:pt>
                <c:pt idx="61">
                  <c:v>116548</c:v>
                </c:pt>
                <c:pt idx="62">
                  <c:v>94911</c:v>
                </c:pt>
                <c:pt idx="63">
                  <c:v>191597</c:v>
                </c:pt>
                <c:pt idx="64">
                  <c:v>136729</c:v>
                </c:pt>
                <c:pt idx="65">
                  <c:v>126928</c:v>
                </c:pt>
                <c:pt idx="66">
                  <c:v>132441</c:v>
                </c:pt>
                <c:pt idx="67">
                  <c:v>184920</c:v>
                </c:pt>
                <c:pt idx="68">
                  <c:v>120792</c:v>
                </c:pt>
                <c:pt idx="69">
                  <c:v>123232</c:v>
                </c:pt>
                <c:pt idx="70">
                  <c:v>111693</c:v>
                </c:pt>
                <c:pt idx="71">
                  <c:v>119126</c:v>
                </c:pt>
                <c:pt idx="72">
                  <c:v>121233</c:v>
                </c:pt>
                <c:pt idx="73">
                  <c:v>1146</c:v>
                </c:pt>
                <c:pt idx="74">
                  <c:v>1941</c:v>
                </c:pt>
                <c:pt idx="75">
                  <c:v>1636</c:v>
                </c:pt>
                <c:pt idx="76">
                  <c:v>3440</c:v>
                </c:pt>
                <c:pt idx="77">
                  <c:v>1163</c:v>
                </c:pt>
                <c:pt idx="78">
                  <c:v>3053</c:v>
                </c:pt>
                <c:pt idx="79">
                  <c:v>28894</c:v>
                </c:pt>
                <c:pt idx="80">
                  <c:v>53244</c:v>
                </c:pt>
                <c:pt idx="81">
                  <c:v>54768</c:v>
                </c:pt>
                <c:pt idx="82">
                  <c:v>52939</c:v>
                </c:pt>
                <c:pt idx="83">
                  <c:v>15422</c:v>
                </c:pt>
                <c:pt idx="84">
                  <c:v>13768</c:v>
                </c:pt>
                <c:pt idx="85">
                  <c:v>1571</c:v>
                </c:pt>
                <c:pt idx="86">
                  <c:v>8979</c:v>
                </c:pt>
                <c:pt idx="87">
                  <c:v>1787</c:v>
                </c:pt>
                <c:pt idx="88">
                  <c:v>1979</c:v>
                </c:pt>
                <c:pt idx="89">
                  <c:v>1757</c:v>
                </c:pt>
                <c:pt idx="90">
                  <c:v>28269</c:v>
                </c:pt>
                <c:pt idx="91">
                  <c:v>69306</c:v>
                </c:pt>
                <c:pt idx="92">
                  <c:v>133393</c:v>
                </c:pt>
                <c:pt idx="93">
                  <c:v>187532</c:v>
                </c:pt>
                <c:pt idx="94">
                  <c:v>132265</c:v>
                </c:pt>
                <c:pt idx="95">
                  <c:v>73051</c:v>
                </c:pt>
                <c:pt idx="96">
                  <c:v>92917</c:v>
                </c:pt>
                <c:pt idx="97">
                  <c:v>162888</c:v>
                </c:pt>
                <c:pt idx="98">
                  <c:v>294214</c:v>
                </c:pt>
                <c:pt idx="99">
                  <c:v>404954</c:v>
                </c:pt>
                <c:pt idx="100">
                  <c:v>486127</c:v>
                </c:pt>
                <c:pt idx="101">
                  <c:v>521417</c:v>
                </c:pt>
                <c:pt idx="102">
                  <c:v>642249</c:v>
                </c:pt>
                <c:pt idx="103">
                  <c:v>904039</c:v>
                </c:pt>
                <c:pt idx="104">
                  <c:v>177058</c:v>
                </c:pt>
                <c:pt idx="105">
                  <c:v>153752</c:v>
                </c:pt>
                <c:pt idx="106">
                  <c:v>151608</c:v>
                </c:pt>
                <c:pt idx="107">
                  <c:v>13660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26766</c:v>
                </c:pt>
                <c:pt idx="1">
                  <c:v>621705</c:v>
                </c:pt>
                <c:pt idx="2">
                  <c:v>610980</c:v>
                </c:pt>
                <c:pt idx="3">
                  <c:v>587925</c:v>
                </c:pt>
                <c:pt idx="4">
                  <c:v>610084</c:v>
                </c:pt>
                <c:pt idx="5">
                  <c:v>618129</c:v>
                </c:pt>
                <c:pt idx="6">
                  <c:v>588858</c:v>
                </c:pt>
                <c:pt idx="7">
                  <c:v>607789</c:v>
                </c:pt>
                <c:pt idx="8">
                  <c:v>649406</c:v>
                </c:pt>
                <c:pt idx="9">
                  <c:v>601290</c:v>
                </c:pt>
                <c:pt idx="10">
                  <c:v>589178</c:v>
                </c:pt>
                <c:pt idx="11">
                  <c:v>598106</c:v>
                </c:pt>
                <c:pt idx="12">
                  <c:v>621773</c:v>
                </c:pt>
                <c:pt idx="13">
                  <c:v>650118</c:v>
                </c:pt>
                <c:pt idx="14">
                  <c:v>553651</c:v>
                </c:pt>
                <c:pt idx="15">
                  <c:v>610655</c:v>
                </c:pt>
                <c:pt idx="16">
                  <c:v>616402</c:v>
                </c:pt>
                <c:pt idx="17">
                  <c:v>681321</c:v>
                </c:pt>
                <c:pt idx="18">
                  <c:v>641213</c:v>
                </c:pt>
                <c:pt idx="19">
                  <c:v>637139</c:v>
                </c:pt>
                <c:pt idx="20">
                  <c:v>690797</c:v>
                </c:pt>
                <c:pt idx="21">
                  <c:v>711570</c:v>
                </c:pt>
                <c:pt idx="22">
                  <c:v>719989</c:v>
                </c:pt>
                <c:pt idx="23">
                  <c:v>695446</c:v>
                </c:pt>
                <c:pt idx="24">
                  <c:v>680424</c:v>
                </c:pt>
                <c:pt idx="25">
                  <c:v>698011</c:v>
                </c:pt>
                <c:pt idx="26">
                  <c:v>723940</c:v>
                </c:pt>
                <c:pt idx="27">
                  <c:v>642371</c:v>
                </c:pt>
                <c:pt idx="28">
                  <c:v>618005</c:v>
                </c:pt>
                <c:pt idx="29">
                  <c:v>668042</c:v>
                </c:pt>
                <c:pt idx="30">
                  <c:v>716564</c:v>
                </c:pt>
                <c:pt idx="31">
                  <c:v>520388</c:v>
                </c:pt>
                <c:pt idx="32">
                  <c:v>316209</c:v>
                </c:pt>
                <c:pt idx="33">
                  <c:v>287762</c:v>
                </c:pt>
                <c:pt idx="34">
                  <c:v>296424</c:v>
                </c:pt>
                <c:pt idx="35">
                  <c:v>315252</c:v>
                </c:pt>
                <c:pt idx="36">
                  <c:v>305756</c:v>
                </c:pt>
                <c:pt idx="37">
                  <c:v>299212</c:v>
                </c:pt>
                <c:pt idx="38">
                  <c:v>295075</c:v>
                </c:pt>
                <c:pt idx="39">
                  <c:v>300768</c:v>
                </c:pt>
                <c:pt idx="40">
                  <c:v>271068</c:v>
                </c:pt>
                <c:pt idx="41">
                  <c:v>272350</c:v>
                </c:pt>
                <c:pt idx="42">
                  <c:v>277988</c:v>
                </c:pt>
                <c:pt idx="43">
                  <c:v>628455</c:v>
                </c:pt>
                <c:pt idx="44">
                  <c:v>657886</c:v>
                </c:pt>
                <c:pt idx="45">
                  <c:v>629083</c:v>
                </c:pt>
                <c:pt idx="46">
                  <c:v>583973</c:v>
                </c:pt>
                <c:pt idx="47">
                  <c:v>622282</c:v>
                </c:pt>
                <c:pt idx="48">
                  <c:v>635226</c:v>
                </c:pt>
                <c:pt idx="49">
                  <c:v>623274</c:v>
                </c:pt>
                <c:pt idx="50">
                  <c:v>673706</c:v>
                </c:pt>
                <c:pt idx="51">
                  <c:v>499243</c:v>
                </c:pt>
                <c:pt idx="52">
                  <c:v>551895</c:v>
                </c:pt>
                <c:pt idx="53">
                  <c:v>500677</c:v>
                </c:pt>
                <c:pt idx="54">
                  <c:v>534065</c:v>
                </c:pt>
                <c:pt idx="55">
                  <c:v>587107</c:v>
                </c:pt>
                <c:pt idx="56">
                  <c:v>587613</c:v>
                </c:pt>
                <c:pt idx="57">
                  <c:v>565257</c:v>
                </c:pt>
                <c:pt idx="58">
                  <c:v>480333</c:v>
                </c:pt>
                <c:pt idx="59">
                  <c:v>468627</c:v>
                </c:pt>
                <c:pt idx="60">
                  <c:v>511941</c:v>
                </c:pt>
                <c:pt idx="61">
                  <c:v>537177</c:v>
                </c:pt>
                <c:pt idx="62">
                  <c:v>522787</c:v>
                </c:pt>
                <c:pt idx="63">
                  <c:v>477986</c:v>
                </c:pt>
                <c:pt idx="64">
                  <c:v>512094</c:v>
                </c:pt>
                <c:pt idx="65">
                  <c:v>512537</c:v>
                </c:pt>
                <c:pt idx="66">
                  <c:v>484247</c:v>
                </c:pt>
                <c:pt idx="67">
                  <c:v>488318</c:v>
                </c:pt>
                <c:pt idx="68">
                  <c:v>488224</c:v>
                </c:pt>
                <c:pt idx="69">
                  <c:v>516622</c:v>
                </c:pt>
                <c:pt idx="70">
                  <c:v>513517</c:v>
                </c:pt>
                <c:pt idx="71">
                  <c:v>482039</c:v>
                </c:pt>
                <c:pt idx="72">
                  <c:v>546661</c:v>
                </c:pt>
                <c:pt idx="73">
                  <c:v>610194</c:v>
                </c:pt>
                <c:pt idx="74">
                  <c:v>658376</c:v>
                </c:pt>
                <c:pt idx="75">
                  <c:v>620936</c:v>
                </c:pt>
                <c:pt idx="76">
                  <c:v>618776</c:v>
                </c:pt>
                <c:pt idx="77">
                  <c:v>616212</c:v>
                </c:pt>
                <c:pt idx="78">
                  <c:v>666232</c:v>
                </c:pt>
                <c:pt idx="79">
                  <c:v>591752</c:v>
                </c:pt>
                <c:pt idx="80">
                  <c:v>575596</c:v>
                </c:pt>
                <c:pt idx="81">
                  <c:v>561891</c:v>
                </c:pt>
                <c:pt idx="82">
                  <c:v>586620</c:v>
                </c:pt>
                <c:pt idx="83">
                  <c:v>610780</c:v>
                </c:pt>
                <c:pt idx="84">
                  <c:v>605599</c:v>
                </c:pt>
                <c:pt idx="85">
                  <c:v>608238</c:v>
                </c:pt>
                <c:pt idx="86">
                  <c:v>598287</c:v>
                </c:pt>
                <c:pt idx="87">
                  <c:v>614485</c:v>
                </c:pt>
                <c:pt idx="88">
                  <c:v>573532</c:v>
                </c:pt>
                <c:pt idx="89">
                  <c:v>576262</c:v>
                </c:pt>
                <c:pt idx="90">
                  <c:v>540592</c:v>
                </c:pt>
                <c:pt idx="91">
                  <c:v>592284</c:v>
                </c:pt>
                <c:pt idx="92">
                  <c:v>477479</c:v>
                </c:pt>
                <c:pt idx="93">
                  <c:v>465499</c:v>
                </c:pt>
                <c:pt idx="94">
                  <c:v>507940</c:v>
                </c:pt>
                <c:pt idx="95">
                  <c:v>572316</c:v>
                </c:pt>
                <c:pt idx="96">
                  <c:v>594214</c:v>
                </c:pt>
                <c:pt idx="97">
                  <c:v>515734</c:v>
                </c:pt>
                <c:pt idx="98">
                  <c:v>396720</c:v>
                </c:pt>
                <c:pt idx="99">
                  <c:v>330944</c:v>
                </c:pt>
                <c:pt idx="100">
                  <c:v>362273</c:v>
                </c:pt>
                <c:pt idx="101">
                  <c:v>391348</c:v>
                </c:pt>
                <c:pt idx="102">
                  <c:v>446137</c:v>
                </c:pt>
                <c:pt idx="103">
                  <c:v>410877</c:v>
                </c:pt>
                <c:pt idx="104">
                  <c:v>399989</c:v>
                </c:pt>
                <c:pt idx="105">
                  <c:v>373381</c:v>
                </c:pt>
                <c:pt idx="106">
                  <c:v>395564</c:v>
                </c:pt>
                <c:pt idx="107">
                  <c:v>35683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1653</c:v>
                </c:pt>
                <c:pt idx="1">
                  <c:v>710030</c:v>
                </c:pt>
                <c:pt idx="2">
                  <c:v>700302</c:v>
                </c:pt>
                <c:pt idx="3">
                  <c:v>647517</c:v>
                </c:pt>
                <c:pt idx="4">
                  <c:v>656069</c:v>
                </c:pt>
                <c:pt idx="5">
                  <c:v>681498</c:v>
                </c:pt>
                <c:pt idx="6">
                  <c:v>662167</c:v>
                </c:pt>
                <c:pt idx="7">
                  <c:v>736349</c:v>
                </c:pt>
                <c:pt idx="8">
                  <c:v>741168</c:v>
                </c:pt>
                <c:pt idx="9">
                  <c:v>692871</c:v>
                </c:pt>
                <c:pt idx="10">
                  <c:v>695844</c:v>
                </c:pt>
                <c:pt idx="11">
                  <c:v>712416</c:v>
                </c:pt>
                <c:pt idx="12">
                  <c:v>653197</c:v>
                </c:pt>
                <c:pt idx="13">
                  <c:v>718854</c:v>
                </c:pt>
                <c:pt idx="14">
                  <c:v>647746</c:v>
                </c:pt>
                <c:pt idx="15">
                  <c:v>732467</c:v>
                </c:pt>
                <c:pt idx="16">
                  <c:v>655359</c:v>
                </c:pt>
                <c:pt idx="17">
                  <c:v>690817</c:v>
                </c:pt>
                <c:pt idx="18">
                  <c:v>647045</c:v>
                </c:pt>
                <c:pt idx="19">
                  <c:v>641406</c:v>
                </c:pt>
                <c:pt idx="20">
                  <c:v>695553</c:v>
                </c:pt>
                <c:pt idx="21">
                  <c:v>715039</c:v>
                </c:pt>
                <c:pt idx="22">
                  <c:v>722570</c:v>
                </c:pt>
                <c:pt idx="23">
                  <c:v>697068</c:v>
                </c:pt>
                <c:pt idx="24">
                  <c:v>684033</c:v>
                </c:pt>
                <c:pt idx="25">
                  <c:v>702468</c:v>
                </c:pt>
                <c:pt idx="26">
                  <c:v>725294</c:v>
                </c:pt>
                <c:pt idx="27">
                  <c:v>711286</c:v>
                </c:pt>
                <c:pt idx="28">
                  <c:v>763028</c:v>
                </c:pt>
                <c:pt idx="29">
                  <c:v>708677</c:v>
                </c:pt>
                <c:pt idx="30">
                  <c:v>752739</c:v>
                </c:pt>
                <c:pt idx="31">
                  <c:v>718381</c:v>
                </c:pt>
                <c:pt idx="32">
                  <c:v>733705</c:v>
                </c:pt>
                <c:pt idx="33">
                  <c:v>713741</c:v>
                </c:pt>
                <c:pt idx="34">
                  <c:v>727914</c:v>
                </c:pt>
                <c:pt idx="35">
                  <c:v>719298</c:v>
                </c:pt>
                <c:pt idx="36">
                  <c:v>677351</c:v>
                </c:pt>
                <c:pt idx="37">
                  <c:v>662395</c:v>
                </c:pt>
                <c:pt idx="38">
                  <c:v>663370</c:v>
                </c:pt>
                <c:pt idx="39">
                  <c:v>703645</c:v>
                </c:pt>
                <c:pt idx="40">
                  <c:v>723118</c:v>
                </c:pt>
                <c:pt idx="41">
                  <c:v>727977</c:v>
                </c:pt>
                <c:pt idx="42">
                  <c:v>710215</c:v>
                </c:pt>
                <c:pt idx="43">
                  <c:v>738025</c:v>
                </c:pt>
                <c:pt idx="44">
                  <c:v>750815</c:v>
                </c:pt>
                <c:pt idx="45">
                  <c:v>740883</c:v>
                </c:pt>
                <c:pt idx="46">
                  <c:v>757561</c:v>
                </c:pt>
                <c:pt idx="47">
                  <c:v>812424</c:v>
                </c:pt>
                <c:pt idx="48">
                  <c:v>920982</c:v>
                </c:pt>
                <c:pt idx="49">
                  <c:v>970728</c:v>
                </c:pt>
                <c:pt idx="50">
                  <c:v>1262555</c:v>
                </c:pt>
                <c:pt idx="51">
                  <c:v>1118720</c:v>
                </c:pt>
                <c:pt idx="52">
                  <c:v>574373</c:v>
                </c:pt>
                <c:pt idx="53">
                  <c:v>546725</c:v>
                </c:pt>
                <c:pt idx="54">
                  <c:v>557016</c:v>
                </c:pt>
                <c:pt idx="55">
                  <c:v>598346</c:v>
                </c:pt>
                <c:pt idx="56">
                  <c:v>628371</c:v>
                </c:pt>
                <c:pt idx="57">
                  <c:v>638699</c:v>
                </c:pt>
                <c:pt idx="58">
                  <c:v>603607</c:v>
                </c:pt>
                <c:pt idx="59">
                  <c:v>723133</c:v>
                </c:pt>
                <c:pt idx="60">
                  <c:v>676949</c:v>
                </c:pt>
                <c:pt idx="61">
                  <c:v>653725</c:v>
                </c:pt>
                <c:pt idx="62">
                  <c:v>617698</c:v>
                </c:pt>
                <c:pt idx="63">
                  <c:v>669583</c:v>
                </c:pt>
                <c:pt idx="64">
                  <c:v>648823</c:v>
                </c:pt>
                <c:pt idx="65">
                  <c:v>639465</c:v>
                </c:pt>
                <c:pt idx="66">
                  <c:v>616688</c:v>
                </c:pt>
                <c:pt idx="67">
                  <c:v>673238</c:v>
                </c:pt>
                <c:pt idx="68">
                  <c:v>609016</c:v>
                </c:pt>
                <c:pt idx="69">
                  <c:v>639854</c:v>
                </c:pt>
                <c:pt idx="70">
                  <c:v>625210</c:v>
                </c:pt>
                <c:pt idx="71">
                  <c:v>601165</c:v>
                </c:pt>
                <c:pt idx="72">
                  <c:v>667894</c:v>
                </c:pt>
                <c:pt idx="73">
                  <c:v>611340</c:v>
                </c:pt>
                <c:pt idx="74">
                  <c:v>660317</c:v>
                </c:pt>
                <c:pt idx="75">
                  <c:v>622572</c:v>
                </c:pt>
                <c:pt idx="76">
                  <c:v>622216</c:v>
                </c:pt>
                <c:pt idx="77">
                  <c:v>617375</c:v>
                </c:pt>
                <c:pt idx="78">
                  <c:v>669285</c:v>
                </c:pt>
                <c:pt idx="79">
                  <c:v>620646</c:v>
                </c:pt>
                <c:pt idx="80">
                  <c:v>628840</c:v>
                </c:pt>
                <c:pt idx="81">
                  <c:v>616659</c:v>
                </c:pt>
                <c:pt idx="82">
                  <c:v>639559</c:v>
                </c:pt>
                <c:pt idx="83">
                  <c:v>626202</c:v>
                </c:pt>
                <c:pt idx="84">
                  <c:v>619367</c:v>
                </c:pt>
                <c:pt idx="85">
                  <c:v>609809</c:v>
                </c:pt>
                <c:pt idx="86">
                  <c:v>607266</c:v>
                </c:pt>
                <c:pt idx="87">
                  <c:v>616272</c:v>
                </c:pt>
                <c:pt idx="88">
                  <c:v>575511</c:v>
                </c:pt>
                <c:pt idx="89">
                  <c:v>578019</c:v>
                </c:pt>
                <c:pt idx="90">
                  <c:v>568861</c:v>
                </c:pt>
                <c:pt idx="91">
                  <c:v>661590</c:v>
                </c:pt>
                <c:pt idx="92">
                  <c:v>610872</c:v>
                </c:pt>
                <c:pt idx="93">
                  <c:v>653031</c:v>
                </c:pt>
                <c:pt idx="94">
                  <c:v>640205</c:v>
                </c:pt>
                <c:pt idx="95">
                  <c:v>645367</c:v>
                </c:pt>
                <c:pt idx="96">
                  <c:v>687131</c:v>
                </c:pt>
                <c:pt idx="97">
                  <c:v>678622</c:v>
                </c:pt>
                <c:pt idx="98">
                  <c:v>690934</c:v>
                </c:pt>
                <c:pt idx="99">
                  <c:v>735898</c:v>
                </c:pt>
                <c:pt idx="100">
                  <c:v>848400</c:v>
                </c:pt>
                <c:pt idx="101">
                  <c:v>912765</c:v>
                </c:pt>
                <c:pt idx="102">
                  <c:v>1088386</c:v>
                </c:pt>
                <c:pt idx="103">
                  <c:v>1314916</c:v>
                </c:pt>
                <c:pt idx="104">
                  <c:v>577047</c:v>
                </c:pt>
                <c:pt idx="105">
                  <c:v>527133</c:v>
                </c:pt>
                <c:pt idx="106">
                  <c:v>547172</c:v>
                </c:pt>
                <c:pt idx="107">
                  <c:v>493441</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46938</c:v>
                </c:pt>
                <c:pt idx="1">
                  <c:v>646524</c:v>
                </c:pt>
                <c:pt idx="2">
                  <c:v>650739</c:v>
                </c:pt>
                <c:pt idx="3">
                  <c:v>651421</c:v>
                </c:pt>
                <c:pt idx="4">
                  <c:v>657901</c:v>
                </c:pt>
                <c:pt idx="5">
                  <c:v>665019</c:v>
                </c:pt>
                <c:pt idx="6">
                  <c:v>673817</c:v>
                </c:pt>
                <c:pt idx="7">
                  <c:v>687870</c:v>
                </c:pt>
                <c:pt idx="8">
                  <c:v>698229</c:v>
                </c:pt>
                <c:pt idx="9">
                  <c:v>699286</c:v>
                </c:pt>
                <c:pt idx="10">
                  <c:v>696444</c:v>
                </c:pt>
                <c:pt idx="11">
                  <c:v>693949</c:v>
                </c:pt>
                <c:pt idx="12">
                  <c:v>693820</c:v>
                </c:pt>
                <c:pt idx="13">
                  <c:v>685022</c:v>
                </c:pt>
                <c:pt idx="14">
                  <c:v>685209</c:v>
                </c:pt>
                <c:pt idx="15">
                  <c:v>680323</c:v>
                </c:pt>
                <c:pt idx="16">
                  <c:v>671337</c:v>
                </c:pt>
                <c:pt idx="17">
                  <c:v>676131</c:v>
                </c:pt>
                <c:pt idx="18">
                  <c:v>676837</c:v>
                </c:pt>
                <c:pt idx="19">
                  <c:v>686103</c:v>
                </c:pt>
                <c:pt idx="20">
                  <c:v>683069</c:v>
                </c:pt>
                <c:pt idx="21">
                  <c:v>686814</c:v>
                </c:pt>
                <c:pt idx="22">
                  <c:v>688517</c:v>
                </c:pt>
                <c:pt idx="23">
                  <c:v>698333</c:v>
                </c:pt>
                <c:pt idx="24">
                  <c:v>706668</c:v>
                </c:pt>
                <c:pt idx="25">
                  <c:v>714372</c:v>
                </c:pt>
                <c:pt idx="26">
                  <c:v>713124</c:v>
                </c:pt>
                <c:pt idx="27">
                  <c:v>715779</c:v>
                </c:pt>
                <c:pt idx="28">
                  <c:v>720268</c:v>
                </c:pt>
                <c:pt idx="29">
                  <c:v>725586</c:v>
                </c:pt>
                <c:pt idx="30">
                  <c:v>727445</c:v>
                </c:pt>
                <c:pt idx="31">
                  <c:v>729452</c:v>
                </c:pt>
                <c:pt idx="32">
                  <c:v>731405</c:v>
                </c:pt>
                <c:pt idx="33">
                  <c:v>719754</c:v>
                </c:pt>
                <c:pt idx="34">
                  <c:v>726631</c:v>
                </c:pt>
                <c:pt idx="35">
                  <c:v>719477</c:v>
                </c:pt>
                <c:pt idx="36">
                  <c:v>716560</c:v>
                </c:pt>
                <c:pt idx="37">
                  <c:v>709546</c:v>
                </c:pt>
                <c:pt idx="38">
                  <c:v>707270</c:v>
                </c:pt>
                <c:pt idx="39">
                  <c:v>704770</c:v>
                </c:pt>
                <c:pt idx="40">
                  <c:v>740258</c:v>
                </c:pt>
                <c:pt idx="41">
                  <c:v>754650</c:v>
                </c:pt>
                <c:pt idx="42">
                  <c:v>726558</c:v>
                </c:pt>
                <c:pt idx="43">
                  <c:v>705822</c:v>
                </c:pt>
                <c:pt idx="44">
                  <c:v>711982</c:v>
                </c:pt>
                <c:pt idx="45">
                  <c:v>734482</c:v>
                </c:pt>
                <c:pt idx="46">
                  <c:v>732857</c:v>
                </c:pt>
                <c:pt idx="47">
                  <c:v>741573</c:v>
                </c:pt>
                <c:pt idx="48">
                  <c:v>720886</c:v>
                </c:pt>
                <c:pt idx="49">
                  <c:v>703558</c:v>
                </c:pt>
                <c:pt idx="50">
                  <c:v>689052</c:v>
                </c:pt>
                <c:pt idx="51">
                  <c:v>738772</c:v>
                </c:pt>
                <c:pt idx="52">
                  <c:v>685992</c:v>
                </c:pt>
                <c:pt idx="53">
                  <c:v>650888</c:v>
                </c:pt>
                <c:pt idx="54">
                  <c:v>607388</c:v>
                </c:pt>
                <c:pt idx="55">
                  <c:v>573482</c:v>
                </c:pt>
                <c:pt idx="56">
                  <c:v>594169</c:v>
                </c:pt>
                <c:pt idx="57">
                  <c:v>620565</c:v>
                </c:pt>
                <c:pt idx="58">
                  <c:v>630396</c:v>
                </c:pt>
                <c:pt idx="59">
                  <c:v>639504</c:v>
                </c:pt>
                <c:pt idx="60">
                  <c:v>651686</c:v>
                </c:pt>
                <c:pt idx="61">
                  <c:v>654528</c:v>
                </c:pt>
                <c:pt idx="62">
                  <c:v>654557</c:v>
                </c:pt>
                <c:pt idx="63">
                  <c:v>654310</c:v>
                </c:pt>
                <c:pt idx="64">
                  <c:v>649782</c:v>
                </c:pt>
                <c:pt idx="65">
                  <c:v>643348</c:v>
                </c:pt>
                <c:pt idx="66">
                  <c:v>640849</c:v>
                </c:pt>
                <c:pt idx="67">
                  <c:v>637789</c:v>
                </c:pt>
                <c:pt idx="68">
                  <c:v>625950</c:v>
                </c:pt>
                <c:pt idx="69">
                  <c:v>628914</c:v>
                </c:pt>
                <c:pt idx="70">
                  <c:v>626215</c:v>
                </c:pt>
                <c:pt idx="71">
                  <c:v>631226</c:v>
                </c:pt>
                <c:pt idx="72">
                  <c:v>629766</c:v>
                </c:pt>
                <c:pt idx="73">
                  <c:v>629780</c:v>
                </c:pt>
                <c:pt idx="74">
                  <c:v>627524</c:v>
                </c:pt>
                <c:pt idx="75">
                  <c:v>633617</c:v>
                </c:pt>
                <c:pt idx="76">
                  <c:v>635888</c:v>
                </c:pt>
                <c:pt idx="77">
                  <c:v>631897</c:v>
                </c:pt>
                <c:pt idx="78">
                  <c:v>632462</c:v>
                </c:pt>
                <c:pt idx="79">
                  <c:v>629431</c:v>
                </c:pt>
                <c:pt idx="80">
                  <c:v>629930</c:v>
                </c:pt>
                <c:pt idx="81">
                  <c:v>629087</c:v>
                </c:pt>
                <c:pt idx="82">
                  <c:v>629375</c:v>
                </c:pt>
                <c:pt idx="83">
                  <c:v>621025</c:v>
                </c:pt>
                <c:pt idx="84">
                  <c:v>620516</c:v>
                </c:pt>
                <c:pt idx="85">
                  <c:v>614140</c:v>
                </c:pt>
                <c:pt idx="86">
                  <c:v>609198</c:v>
                </c:pt>
                <c:pt idx="87">
                  <c:v>600566</c:v>
                </c:pt>
                <c:pt idx="88">
                  <c:v>604321</c:v>
                </c:pt>
                <c:pt idx="89">
                  <c:v>601175</c:v>
                </c:pt>
                <c:pt idx="90">
                  <c:v>599523</c:v>
                </c:pt>
                <c:pt idx="91">
                  <c:v>596953</c:v>
                </c:pt>
                <c:pt idx="92">
                  <c:v>603351</c:v>
                </c:pt>
                <c:pt idx="93">
                  <c:v>642066</c:v>
                </c:pt>
                <c:pt idx="94">
                  <c:v>653310</c:v>
                </c:pt>
                <c:pt idx="95">
                  <c:v>664294</c:v>
                </c:pt>
                <c:pt idx="96">
                  <c:v>668462</c:v>
                </c:pt>
                <c:pt idx="97">
                  <c:v>678988</c:v>
                </c:pt>
                <c:pt idx="98">
                  <c:v>688776</c:v>
                </c:pt>
                <c:pt idx="99">
                  <c:v>688378</c:v>
                </c:pt>
                <c:pt idx="100">
                  <c:v>698876</c:v>
                </c:pt>
                <c:pt idx="101">
                  <c:v>696393</c:v>
                </c:pt>
                <c:pt idx="102">
                  <c:v>693203</c:v>
                </c:pt>
                <c:pt idx="103">
                  <c:v>689698</c:v>
                </c:pt>
                <c:pt idx="104">
                  <c:v>603047</c:v>
                </c:pt>
                <c:pt idx="105">
                  <c:v>556986</c:v>
                </c:pt>
                <c:pt idx="106">
                  <c:v>581217</c:v>
                </c:pt>
                <c:pt idx="107">
                  <c:v>55790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c:v>
                </c:pt>
                <c:pt idx="22">
                  <c:v>0</c:v>
                </c:pt>
                <c:pt idx="23">
                  <c:v>0</c:v>
                </c:pt>
                <c:pt idx="24">
                  <c:v>0.01</c:v>
                </c:pt>
                <c:pt idx="25">
                  <c:v>0.01</c:v>
                </c:pt>
                <c:pt idx="26">
                  <c:v>0</c:v>
                </c:pt>
                <c:pt idx="27">
                  <c:v>0.1</c:v>
                </c:pt>
                <c:pt idx="28">
                  <c:v>0.18</c:v>
                </c:pt>
                <c:pt idx="29">
                  <c:v>0.05</c:v>
                </c:pt>
                <c:pt idx="30">
                  <c:v>0.03</c:v>
                </c:pt>
                <c:pt idx="31">
                  <c:v>0.35</c:v>
                </c:pt>
                <c:pt idx="32">
                  <c:v>0.78</c:v>
                </c:pt>
                <c:pt idx="33">
                  <c:v>0.81</c:v>
                </c:pt>
                <c:pt idx="34">
                  <c:v>0.81</c:v>
                </c:pt>
                <c:pt idx="35">
                  <c:v>0.8</c:v>
                </c:pt>
                <c:pt idx="36">
                  <c:v>0.8</c:v>
                </c:pt>
                <c:pt idx="37">
                  <c:v>0.79</c:v>
                </c:pt>
                <c:pt idx="38">
                  <c:v>0.79</c:v>
                </c:pt>
                <c:pt idx="39">
                  <c:v>0.79</c:v>
                </c:pt>
                <c:pt idx="40">
                  <c:v>0.81</c:v>
                </c:pt>
                <c:pt idx="41">
                  <c:v>0.8</c:v>
                </c:pt>
                <c:pt idx="42">
                  <c:v>0.79</c:v>
                </c:pt>
                <c:pt idx="43">
                  <c:v>0.08</c:v>
                </c:pt>
                <c:pt idx="44">
                  <c:v>0.08</c:v>
                </c:pt>
                <c:pt idx="45">
                  <c:v>0.1</c:v>
                </c:pt>
                <c:pt idx="46">
                  <c:v>0.16</c:v>
                </c:pt>
                <c:pt idx="47">
                  <c:v>0.17</c:v>
                </c:pt>
                <c:pt idx="48">
                  <c:v>0.25</c:v>
                </c:pt>
                <c:pt idx="49">
                  <c:v>0.27</c:v>
                </c:pt>
                <c:pt idx="50">
                  <c:v>0.36</c:v>
                </c:pt>
                <c:pt idx="51">
                  <c:v>0.55000000000000004</c:v>
                </c:pt>
                <c:pt idx="52">
                  <c:v>0.05</c:v>
                </c:pt>
                <c:pt idx="53">
                  <c:v>0.1</c:v>
                </c:pt>
                <c:pt idx="54">
                  <c:v>0.05</c:v>
                </c:pt>
                <c:pt idx="55">
                  <c:v>0.02</c:v>
                </c:pt>
                <c:pt idx="56">
                  <c:v>0.05</c:v>
                </c:pt>
                <c:pt idx="57">
                  <c:v>7.0000000000000007E-2</c:v>
                </c:pt>
                <c:pt idx="58">
                  <c:v>0.16</c:v>
                </c:pt>
                <c:pt idx="59">
                  <c:v>0.34</c:v>
                </c:pt>
                <c:pt idx="60">
                  <c:v>0.19</c:v>
                </c:pt>
                <c:pt idx="61">
                  <c:v>0.11</c:v>
                </c:pt>
                <c:pt idx="62">
                  <c:v>0.09</c:v>
                </c:pt>
                <c:pt idx="63">
                  <c:v>0.3</c:v>
                </c:pt>
                <c:pt idx="64">
                  <c:v>0.22</c:v>
                </c:pt>
                <c:pt idx="65">
                  <c:v>0.21</c:v>
                </c:pt>
                <c:pt idx="66">
                  <c:v>0.23</c:v>
                </c:pt>
                <c:pt idx="67">
                  <c:v>0.3</c:v>
                </c:pt>
                <c:pt idx="68">
                  <c:v>0.21</c:v>
                </c:pt>
                <c:pt idx="69">
                  <c:v>0.21</c:v>
                </c:pt>
                <c:pt idx="70">
                  <c:v>0.19</c:v>
                </c:pt>
                <c:pt idx="71">
                  <c:v>0.22</c:v>
                </c:pt>
                <c:pt idx="72">
                  <c:v>0.22</c:v>
                </c:pt>
                <c:pt idx="73">
                  <c:v>0</c:v>
                </c:pt>
                <c:pt idx="74">
                  <c:v>0</c:v>
                </c:pt>
                <c:pt idx="75">
                  <c:v>0</c:v>
                </c:pt>
                <c:pt idx="76">
                  <c:v>0.01</c:v>
                </c:pt>
                <c:pt idx="77">
                  <c:v>0</c:v>
                </c:pt>
                <c:pt idx="78">
                  <c:v>0</c:v>
                </c:pt>
                <c:pt idx="79">
                  <c:v>0.03</c:v>
                </c:pt>
                <c:pt idx="80">
                  <c:v>0.05</c:v>
                </c:pt>
                <c:pt idx="81">
                  <c:v>0.05</c:v>
                </c:pt>
                <c:pt idx="82">
                  <c:v>0.05</c:v>
                </c:pt>
                <c:pt idx="83">
                  <c:v>0.01</c:v>
                </c:pt>
                <c:pt idx="84">
                  <c:v>0.01</c:v>
                </c:pt>
                <c:pt idx="85">
                  <c:v>0</c:v>
                </c:pt>
                <c:pt idx="86">
                  <c:v>0.01</c:v>
                </c:pt>
                <c:pt idx="87">
                  <c:v>0</c:v>
                </c:pt>
                <c:pt idx="88">
                  <c:v>0</c:v>
                </c:pt>
                <c:pt idx="89">
                  <c:v>0</c:v>
                </c:pt>
                <c:pt idx="90">
                  <c:v>0.04</c:v>
                </c:pt>
                <c:pt idx="91">
                  <c:v>0.1</c:v>
                </c:pt>
                <c:pt idx="92">
                  <c:v>0.24</c:v>
                </c:pt>
                <c:pt idx="93">
                  <c:v>0.28999999999999998</c:v>
                </c:pt>
                <c:pt idx="94">
                  <c:v>0.19</c:v>
                </c:pt>
                <c:pt idx="95">
                  <c:v>0.09</c:v>
                </c:pt>
                <c:pt idx="96">
                  <c:v>0.1</c:v>
                </c:pt>
                <c:pt idx="97">
                  <c:v>0.18</c:v>
                </c:pt>
                <c:pt idx="98">
                  <c:v>0.3</c:v>
                </c:pt>
                <c:pt idx="99">
                  <c:v>0.44</c:v>
                </c:pt>
                <c:pt idx="100">
                  <c:v>0.5</c:v>
                </c:pt>
                <c:pt idx="101">
                  <c:v>0.45</c:v>
                </c:pt>
                <c:pt idx="102">
                  <c:v>0.45</c:v>
                </c:pt>
                <c:pt idx="103">
                  <c:v>0.64</c:v>
                </c:pt>
                <c:pt idx="104">
                  <c:v>0.2</c:v>
                </c:pt>
                <c:pt idx="105">
                  <c:v>0.18</c:v>
                </c:pt>
                <c:pt idx="106">
                  <c:v>0.17</c:v>
                </c:pt>
                <c:pt idx="107">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593</c:v>
                </c:pt>
                <c:pt idx="1">
                  <c:v>9952</c:v>
                </c:pt>
                <c:pt idx="2">
                  <c:v>7382</c:v>
                </c:pt>
                <c:pt idx="3">
                  <c:v>3239</c:v>
                </c:pt>
                <c:pt idx="4">
                  <c:v>2822</c:v>
                </c:pt>
                <c:pt idx="5">
                  <c:v>1461</c:v>
                </c:pt>
                <c:pt idx="6">
                  <c:v>1403</c:v>
                </c:pt>
                <c:pt idx="7">
                  <c:v>1490</c:v>
                </c:pt>
                <c:pt idx="8">
                  <c:v>1696</c:v>
                </c:pt>
                <c:pt idx="9">
                  <c:v>1381</c:v>
                </c:pt>
                <c:pt idx="10">
                  <c:v>823</c:v>
                </c:pt>
                <c:pt idx="11">
                  <c:v>3540</c:v>
                </c:pt>
                <c:pt idx="12">
                  <c:v>2955</c:v>
                </c:pt>
                <c:pt idx="13">
                  <c:v>582</c:v>
                </c:pt>
                <c:pt idx="14">
                  <c:v>15105</c:v>
                </c:pt>
                <c:pt idx="15">
                  <c:v>14072</c:v>
                </c:pt>
                <c:pt idx="16">
                  <c:v>6536</c:v>
                </c:pt>
                <c:pt idx="17">
                  <c:v>5267</c:v>
                </c:pt>
                <c:pt idx="18">
                  <c:v>4067</c:v>
                </c:pt>
                <c:pt idx="19">
                  <c:v>2819</c:v>
                </c:pt>
                <c:pt idx="20">
                  <c:v>2712</c:v>
                </c:pt>
                <c:pt idx="21">
                  <c:v>10898</c:v>
                </c:pt>
                <c:pt idx="22">
                  <c:v>2457</c:v>
                </c:pt>
                <c:pt idx="23">
                  <c:v>1868</c:v>
                </c:pt>
                <c:pt idx="24">
                  <c:v>3463</c:v>
                </c:pt>
                <c:pt idx="25">
                  <c:v>1913</c:v>
                </c:pt>
                <c:pt idx="26">
                  <c:v>1839</c:v>
                </c:pt>
                <c:pt idx="27">
                  <c:v>2594</c:v>
                </c:pt>
                <c:pt idx="28">
                  <c:v>23808</c:v>
                </c:pt>
                <c:pt idx="29">
                  <c:v>16059</c:v>
                </c:pt>
                <c:pt idx="30">
                  <c:v>7567</c:v>
                </c:pt>
                <c:pt idx="31">
                  <c:v>5638</c:v>
                </c:pt>
                <c:pt idx="32">
                  <c:v>7448</c:v>
                </c:pt>
                <c:pt idx="33">
                  <c:v>6871</c:v>
                </c:pt>
                <c:pt idx="34">
                  <c:v>6174</c:v>
                </c:pt>
                <c:pt idx="35">
                  <c:v>6679</c:v>
                </c:pt>
                <c:pt idx="36">
                  <c:v>15220</c:v>
                </c:pt>
                <c:pt idx="37">
                  <c:v>20606</c:v>
                </c:pt>
                <c:pt idx="38">
                  <c:v>22989</c:v>
                </c:pt>
                <c:pt idx="39">
                  <c:v>20781</c:v>
                </c:pt>
                <c:pt idx="40">
                  <c:v>16464</c:v>
                </c:pt>
                <c:pt idx="41">
                  <c:v>15075</c:v>
                </c:pt>
                <c:pt idx="42">
                  <c:v>12672</c:v>
                </c:pt>
                <c:pt idx="43">
                  <c:v>10767</c:v>
                </c:pt>
                <c:pt idx="44">
                  <c:v>9388</c:v>
                </c:pt>
                <c:pt idx="45">
                  <c:v>8235</c:v>
                </c:pt>
                <c:pt idx="46">
                  <c:v>7170</c:v>
                </c:pt>
                <c:pt idx="47">
                  <c:v>3654</c:v>
                </c:pt>
                <c:pt idx="48">
                  <c:v>5041</c:v>
                </c:pt>
                <c:pt idx="49">
                  <c:v>8409</c:v>
                </c:pt>
                <c:pt idx="50">
                  <c:v>12711</c:v>
                </c:pt>
                <c:pt idx="51">
                  <c:v>7758</c:v>
                </c:pt>
                <c:pt idx="52">
                  <c:v>27703</c:v>
                </c:pt>
                <c:pt idx="53">
                  <c:v>56138</c:v>
                </c:pt>
                <c:pt idx="54">
                  <c:v>55878</c:v>
                </c:pt>
                <c:pt idx="55">
                  <c:v>60364</c:v>
                </c:pt>
                <c:pt idx="56">
                  <c:v>61069</c:v>
                </c:pt>
                <c:pt idx="57">
                  <c:v>67074</c:v>
                </c:pt>
                <c:pt idx="58">
                  <c:v>55250</c:v>
                </c:pt>
                <c:pt idx="59">
                  <c:v>26780</c:v>
                </c:pt>
                <c:pt idx="60">
                  <c:v>5346</c:v>
                </c:pt>
                <c:pt idx="61">
                  <c:v>4340</c:v>
                </c:pt>
                <c:pt idx="62">
                  <c:v>4140</c:v>
                </c:pt>
                <c:pt idx="63">
                  <c:v>3826</c:v>
                </c:pt>
                <c:pt idx="64">
                  <c:v>4367</c:v>
                </c:pt>
                <c:pt idx="65">
                  <c:v>23726</c:v>
                </c:pt>
                <c:pt idx="66">
                  <c:v>36589</c:v>
                </c:pt>
                <c:pt idx="67">
                  <c:v>37800</c:v>
                </c:pt>
                <c:pt idx="68">
                  <c:v>36540</c:v>
                </c:pt>
                <c:pt idx="69">
                  <c:v>41151</c:v>
                </c:pt>
                <c:pt idx="70">
                  <c:v>54459</c:v>
                </c:pt>
                <c:pt idx="71">
                  <c:v>62173</c:v>
                </c:pt>
                <c:pt idx="72">
                  <c:v>64406</c:v>
                </c:pt>
                <c:pt idx="73">
                  <c:v>61798</c:v>
                </c:pt>
                <c:pt idx="74">
                  <c:v>64032</c:v>
                </c:pt>
                <c:pt idx="75">
                  <c:v>69147</c:v>
                </c:pt>
                <c:pt idx="76">
                  <c:v>40199</c:v>
                </c:pt>
                <c:pt idx="77">
                  <c:v>41406</c:v>
                </c:pt>
                <c:pt idx="78">
                  <c:v>23603</c:v>
                </c:pt>
                <c:pt idx="79">
                  <c:v>22310</c:v>
                </c:pt>
                <c:pt idx="80">
                  <c:v>18143</c:v>
                </c:pt>
                <c:pt idx="81">
                  <c:v>18844</c:v>
                </c:pt>
                <c:pt idx="82">
                  <c:v>13447</c:v>
                </c:pt>
                <c:pt idx="83">
                  <c:v>10920</c:v>
                </c:pt>
                <c:pt idx="84">
                  <c:v>31514</c:v>
                </c:pt>
                <c:pt idx="85">
                  <c:v>30058</c:v>
                </c:pt>
                <c:pt idx="86">
                  <c:v>26135</c:v>
                </c:pt>
                <c:pt idx="87">
                  <c:v>10625</c:v>
                </c:pt>
                <c:pt idx="88">
                  <c:v>11642</c:v>
                </c:pt>
                <c:pt idx="89">
                  <c:v>8748</c:v>
                </c:pt>
                <c:pt idx="90">
                  <c:v>8453</c:v>
                </c:pt>
                <c:pt idx="91">
                  <c:v>8784</c:v>
                </c:pt>
                <c:pt idx="92">
                  <c:v>11568</c:v>
                </c:pt>
                <c:pt idx="93">
                  <c:v>12631</c:v>
                </c:pt>
                <c:pt idx="94">
                  <c:v>15348</c:v>
                </c:pt>
                <c:pt idx="95">
                  <c:v>11659</c:v>
                </c:pt>
                <c:pt idx="96">
                  <c:v>9991</c:v>
                </c:pt>
                <c:pt idx="97">
                  <c:v>7496</c:v>
                </c:pt>
                <c:pt idx="98">
                  <c:v>4629</c:v>
                </c:pt>
                <c:pt idx="99">
                  <c:v>3313</c:v>
                </c:pt>
                <c:pt idx="100">
                  <c:v>4178</c:v>
                </c:pt>
                <c:pt idx="101">
                  <c:v>29761</c:v>
                </c:pt>
                <c:pt idx="102">
                  <c:v>39292</c:v>
                </c:pt>
                <c:pt idx="103">
                  <c:v>26064</c:v>
                </c:pt>
                <c:pt idx="104">
                  <c:v>26092</c:v>
                </c:pt>
                <c:pt idx="105">
                  <c:v>21629</c:v>
                </c:pt>
                <c:pt idx="106">
                  <c:v>25804</c:v>
                </c:pt>
                <c:pt idx="107">
                  <c:v>2449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546805</c:v>
                </c:pt>
                <c:pt idx="1">
                  <c:v>541854</c:v>
                </c:pt>
                <c:pt idx="2">
                  <c:v>549084</c:v>
                </c:pt>
                <c:pt idx="3">
                  <c:v>543531</c:v>
                </c:pt>
                <c:pt idx="4">
                  <c:v>571784</c:v>
                </c:pt>
                <c:pt idx="5">
                  <c:v>568973</c:v>
                </c:pt>
                <c:pt idx="6">
                  <c:v>546207</c:v>
                </c:pt>
                <c:pt idx="7">
                  <c:v>571146</c:v>
                </c:pt>
                <c:pt idx="8">
                  <c:v>587385</c:v>
                </c:pt>
                <c:pt idx="9">
                  <c:v>570020</c:v>
                </c:pt>
                <c:pt idx="10">
                  <c:v>526022</c:v>
                </c:pt>
                <c:pt idx="11">
                  <c:v>510062</c:v>
                </c:pt>
                <c:pt idx="12">
                  <c:v>494761</c:v>
                </c:pt>
                <c:pt idx="13">
                  <c:v>535542</c:v>
                </c:pt>
                <c:pt idx="14">
                  <c:v>484335</c:v>
                </c:pt>
                <c:pt idx="15">
                  <c:v>573213</c:v>
                </c:pt>
                <c:pt idx="16">
                  <c:v>620914</c:v>
                </c:pt>
                <c:pt idx="17">
                  <c:v>690774</c:v>
                </c:pt>
                <c:pt idx="18">
                  <c:v>655346</c:v>
                </c:pt>
                <c:pt idx="19">
                  <c:v>647336</c:v>
                </c:pt>
                <c:pt idx="20">
                  <c:v>668711</c:v>
                </c:pt>
                <c:pt idx="21">
                  <c:v>709802</c:v>
                </c:pt>
                <c:pt idx="22">
                  <c:v>740149</c:v>
                </c:pt>
                <c:pt idx="23">
                  <c:v>717687</c:v>
                </c:pt>
                <c:pt idx="24">
                  <c:v>697752</c:v>
                </c:pt>
                <c:pt idx="25">
                  <c:v>711286</c:v>
                </c:pt>
                <c:pt idx="26">
                  <c:v>739186</c:v>
                </c:pt>
                <c:pt idx="27">
                  <c:v>715914</c:v>
                </c:pt>
                <c:pt idx="28">
                  <c:v>696391</c:v>
                </c:pt>
                <c:pt idx="29">
                  <c:v>700690</c:v>
                </c:pt>
                <c:pt idx="30">
                  <c:v>767697</c:v>
                </c:pt>
                <c:pt idx="31">
                  <c:v>726044</c:v>
                </c:pt>
                <c:pt idx="32">
                  <c:v>720478</c:v>
                </c:pt>
                <c:pt idx="33">
                  <c:v>697320</c:v>
                </c:pt>
                <c:pt idx="34">
                  <c:v>706714</c:v>
                </c:pt>
                <c:pt idx="35">
                  <c:v>694548</c:v>
                </c:pt>
                <c:pt idx="36">
                  <c:v>658075</c:v>
                </c:pt>
                <c:pt idx="37">
                  <c:v>651952</c:v>
                </c:pt>
                <c:pt idx="38">
                  <c:v>644093</c:v>
                </c:pt>
                <c:pt idx="39">
                  <c:v>670673</c:v>
                </c:pt>
                <c:pt idx="40">
                  <c:v>634782</c:v>
                </c:pt>
                <c:pt idx="41">
                  <c:v>625652</c:v>
                </c:pt>
                <c:pt idx="42">
                  <c:v>621324</c:v>
                </c:pt>
                <c:pt idx="43">
                  <c:v>644009</c:v>
                </c:pt>
                <c:pt idx="44">
                  <c:v>655810</c:v>
                </c:pt>
                <c:pt idx="45">
                  <c:v>618238</c:v>
                </c:pt>
                <c:pt idx="46">
                  <c:v>584979</c:v>
                </c:pt>
                <c:pt idx="47">
                  <c:v>641571</c:v>
                </c:pt>
                <c:pt idx="48">
                  <c:v>674566</c:v>
                </c:pt>
                <c:pt idx="49">
                  <c:v>650247</c:v>
                </c:pt>
                <c:pt idx="50">
                  <c:v>727682</c:v>
                </c:pt>
                <c:pt idx="51">
                  <c:v>581079</c:v>
                </c:pt>
                <c:pt idx="52">
                  <c:v>627486</c:v>
                </c:pt>
                <c:pt idx="53">
                  <c:v>564306</c:v>
                </c:pt>
                <c:pt idx="54">
                  <c:v>540285</c:v>
                </c:pt>
                <c:pt idx="55">
                  <c:v>574037</c:v>
                </c:pt>
                <c:pt idx="56">
                  <c:v>602292</c:v>
                </c:pt>
                <c:pt idx="57">
                  <c:v>589394</c:v>
                </c:pt>
                <c:pt idx="58">
                  <c:v>583968</c:v>
                </c:pt>
                <c:pt idx="59">
                  <c:v>654908</c:v>
                </c:pt>
                <c:pt idx="60">
                  <c:v>692294</c:v>
                </c:pt>
                <c:pt idx="61">
                  <c:v>681667</c:v>
                </c:pt>
                <c:pt idx="62">
                  <c:v>663618</c:v>
                </c:pt>
                <c:pt idx="63">
                  <c:v>652613</c:v>
                </c:pt>
                <c:pt idx="64">
                  <c:v>674257</c:v>
                </c:pt>
                <c:pt idx="65">
                  <c:v>687202</c:v>
                </c:pt>
                <c:pt idx="66">
                  <c:v>630702</c:v>
                </c:pt>
                <c:pt idx="67">
                  <c:v>600564</c:v>
                </c:pt>
                <c:pt idx="68">
                  <c:v>545251</c:v>
                </c:pt>
                <c:pt idx="69">
                  <c:v>592129</c:v>
                </c:pt>
                <c:pt idx="70">
                  <c:v>628375</c:v>
                </c:pt>
                <c:pt idx="71">
                  <c:v>617590</c:v>
                </c:pt>
                <c:pt idx="72">
                  <c:v>657381</c:v>
                </c:pt>
                <c:pt idx="73">
                  <c:v>654651</c:v>
                </c:pt>
                <c:pt idx="74">
                  <c:v>726893</c:v>
                </c:pt>
                <c:pt idx="75">
                  <c:v>671089</c:v>
                </c:pt>
                <c:pt idx="76">
                  <c:v>700349</c:v>
                </c:pt>
                <c:pt idx="77">
                  <c:v>689616</c:v>
                </c:pt>
                <c:pt idx="78">
                  <c:v>764944</c:v>
                </c:pt>
                <c:pt idx="79">
                  <c:v>682782</c:v>
                </c:pt>
                <c:pt idx="80">
                  <c:v>682243</c:v>
                </c:pt>
                <c:pt idx="81">
                  <c:v>666072</c:v>
                </c:pt>
                <c:pt idx="82">
                  <c:v>716437</c:v>
                </c:pt>
                <c:pt idx="83">
                  <c:v>713634</c:v>
                </c:pt>
                <c:pt idx="84">
                  <c:v>703557</c:v>
                </c:pt>
                <c:pt idx="85">
                  <c:v>687201</c:v>
                </c:pt>
                <c:pt idx="86">
                  <c:v>691812</c:v>
                </c:pt>
                <c:pt idx="87">
                  <c:v>718915</c:v>
                </c:pt>
                <c:pt idx="88">
                  <c:v>662260</c:v>
                </c:pt>
                <c:pt idx="89">
                  <c:v>662663</c:v>
                </c:pt>
                <c:pt idx="90">
                  <c:v>652903</c:v>
                </c:pt>
                <c:pt idx="91">
                  <c:v>731317</c:v>
                </c:pt>
                <c:pt idx="92">
                  <c:v>643492</c:v>
                </c:pt>
                <c:pt idx="93">
                  <c:v>653935</c:v>
                </c:pt>
                <c:pt idx="94">
                  <c:v>634519</c:v>
                </c:pt>
                <c:pt idx="95">
                  <c:v>643073</c:v>
                </c:pt>
                <c:pt idx="96">
                  <c:v>661996</c:v>
                </c:pt>
                <c:pt idx="97">
                  <c:v>618783</c:v>
                </c:pt>
                <c:pt idx="98">
                  <c:v>624971</c:v>
                </c:pt>
                <c:pt idx="99">
                  <c:v>581389</c:v>
                </c:pt>
                <c:pt idx="100">
                  <c:v>647002</c:v>
                </c:pt>
                <c:pt idx="101">
                  <c:v>617394</c:v>
                </c:pt>
                <c:pt idx="102">
                  <c:v>633674</c:v>
                </c:pt>
                <c:pt idx="103">
                  <c:v>570149</c:v>
                </c:pt>
                <c:pt idx="104">
                  <c:v>573440</c:v>
                </c:pt>
                <c:pt idx="105">
                  <c:v>516165</c:v>
                </c:pt>
                <c:pt idx="106">
                  <c:v>558761</c:v>
                </c:pt>
                <c:pt idx="107">
                  <c:v>53824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554398</c:v>
                </c:pt>
                <c:pt idx="1">
                  <c:v>551806</c:v>
                </c:pt>
                <c:pt idx="2">
                  <c:v>556466</c:v>
                </c:pt>
                <c:pt idx="3">
                  <c:v>546770</c:v>
                </c:pt>
                <c:pt idx="4">
                  <c:v>574606</c:v>
                </c:pt>
                <c:pt idx="5">
                  <c:v>570434</c:v>
                </c:pt>
                <c:pt idx="6">
                  <c:v>547610</c:v>
                </c:pt>
                <c:pt idx="7">
                  <c:v>572636</c:v>
                </c:pt>
                <c:pt idx="8">
                  <c:v>589081</c:v>
                </c:pt>
                <c:pt idx="9">
                  <c:v>571401</c:v>
                </c:pt>
                <c:pt idx="10">
                  <c:v>526845</c:v>
                </c:pt>
                <c:pt idx="11">
                  <c:v>513602</c:v>
                </c:pt>
                <c:pt idx="12">
                  <c:v>497716</c:v>
                </c:pt>
                <c:pt idx="13">
                  <c:v>536124</c:v>
                </c:pt>
                <c:pt idx="14">
                  <c:v>499440</c:v>
                </c:pt>
                <c:pt idx="15">
                  <c:v>587285</c:v>
                </c:pt>
                <c:pt idx="16">
                  <c:v>627450</c:v>
                </c:pt>
                <c:pt idx="17">
                  <c:v>696041</c:v>
                </c:pt>
                <c:pt idx="18">
                  <c:v>659413</c:v>
                </c:pt>
                <c:pt idx="19">
                  <c:v>650155</c:v>
                </c:pt>
                <c:pt idx="20">
                  <c:v>671423</c:v>
                </c:pt>
                <c:pt idx="21">
                  <c:v>720700</c:v>
                </c:pt>
                <c:pt idx="22">
                  <c:v>742606</c:v>
                </c:pt>
                <c:pt idx="23">
                  <c:v>719555</c:v>
                </c:pt>
                <c:pt idx="24">
                  <c:v>701215</c:v>
                </c:pt>
                <c:pt idx="25">
                  <c:v>713199</c:v>
                </c:pt>
                <c:pt idx="26">
                  <c:v>741025</c:v>
                </c:pt>
                <c:pt idx="27">
                  <c:v>718508</c:v>
                </c:pt>
                <c:pt idx="28">
                  <c:v>720199</c:v>
                </c:pt>
                <c:pt idx="29">
                  <c:v>716749</c:v>
                </c:pt>
                <c:pt idx="30">
                  <c:v>775264</c:v>
                </c:pt>
                <c:pt idx="31">
                  <c:v>731682</c:v>
                </c:pt>
                <c:pt idx="32">
                  <c:v>727926</c:v>
                </c:pt>
                <c:pt idx="33">
                  <c:v>704191</c:v>
                </c:pt>
                <c:pt idx="34">
                  <c:v>712888</c:v>
                </c:pt>
                <c:pt idx="35">
                  <c:v>701227</c:v>
                </c:pt>
                <c:pt idx="36">
                  <c:v>673295</c:v>
                </c:pt>
                <c:pt idx="37">
                  <c:v>672558</c:v>
                </c:pt>
                <c:pt idx="38">
                  <c:v>667082</c:v>
                </c:pt>
                <c:pt idx="39">
                  <c:v>691454</c:v>
                </c:pt>
                <c:pt idx="40">
                  <c:v>651246</c:v>
                </c:pt>
                <c:pt idx="41">
                  <c:v>640727</c:v>
                </c:pt>
                <c:pt idx="42">
                  <c:v>633996</c:v>
                </c:pt>
                <c:pt idx="43">
                  <c:v>654776</c:v>
                </c:pt>
                <c:pt idx="44">
                  <c:v>665198</c:v>
                </c:pt>
                <c:pt idx="45">
                  <c:v>626473</c:v>
                </c:pt>
                <c:pt idx="46">
                  <c:v>592149</c:v>
                </c:pt>
                <c:pt idx="47">
                  <c:v>645225</c:v>
                </c:pt>
                <c:pt idx="48">
                  <c:v>679607</c:v>
                </c:pt>
                <c:pt idx="49">
                  <c:v>658656</c:v>
                </c:pt>
                <c:pt idx="50">
                  <c:v>740393</c:v>
                </c:pt>
                <c:pt idx="51">
                  <c:v>588837</c:v>
                </c:pt>
                <c:pt idx="52">
                  <c:v>655189</c:v>
                </c:pt>
                <c:pt idx="53">
                  <c:v>620444</c:v>
                </c:pt>
                <c:pt idx="54">
                  <c:v>596163</c:v>
                </c:pt>
                <c:pt idx="55">
                  <c:v>634401</c:v>
                </c:pt>
                <c:pt idx="56">
                  <c:v>663361</c:v>
                </c:pt>
                <c:pt idx="57">
                  <c:v>656468</c:v>
                </c:pt>
                <c:pt idx="58">
                  <c:v>639218</c:v>
                </c:pt>
                <c:pt idx="59">
                  <c:v>681688</c:v>
                </c:pt>
                <c:pt idx="60">
                  <c:v>697640</c:v>
                </c:pt>
                <c:pt idx="61">
                  <c:v>686007</c:v>
                </c:pt>
                <c:pt idx="62">
                  <c:v>667758</c:v>
                </c:pt>
                <c:pt idx="63">
                  <c:v>656439</c:v>
                </c:pt>
                <c:pt idx="64">
                  <c:v>678624</c:v>
                </c:pt>
                <c:pt idx="65">
                  <c:v>710928</c:v>
                </c:pt>
                <c:pt idx="66">
                  <c:v>667291</c:v>
                </c:pt>
                <c:pt idx="67">
                  <c:v>638364</c:v>
                </c:pt>
                <c:pt idx="68">
                  <c:v>581791</c:v>
                </c:pt>
                <c:pt idx="69">
                  <c:v>633280</c:v>
                </c:pt>
                <c:pt idx="70">
                  <c:v>682834</c:v>
                </c:pt>
                <c:pt idx="71">
                  <c:v>679763</c:v>
                </c:pt>
                <c:pt idx="72">
                  <c:v>721787</c:v>
                </c:pt>
                <c:pt idx="73">
                  <c:v>716449</c:v>
                </c:pt>
                <c:pt idx="74">
                  <c:v>790925</c:v>
                </c:pt>
                <c:pt idx="75">
                  <c:v>740236</c:v>
                </c:pt>
                <c:pt idx="76">
                  <c:v>740548</c:v>
                </c:pt>
                <c:pt idx="77">
                  <c:v>731022</c:v>
                </c:pt>
                <c:pt idx="78">
                  <c:v>788547</c:v>
                </c:pt>
                <c:pt idx="79">
                  <c:v>705092</c:v>
                </c:pt>
                <c:pt idx="80">
                  <c:v>700386</c:v>
                </c:pt>
                <c:pt idx="81">
                  <c:v>684916</c:v>
                </c:pt>
                <c:pt idx="82">
                  <c:v>729884</c:v>
                </c:pt>
                <c:pt idx="83">
                  <c:v>724554</c:v>
                </c:pt>
                <c:pt idx="84">
                  <c:v>735071</c:v>
                </c:pt>
                <c:pt idx="85">
                  <c:v>717259</c:v>
                </c:pt>
                <c:pt idx="86">
                  <c:v>717947</c:v>
                </c:pt>
                <c:pt idx="87">
                  <c:v>729540</c:v>
                </c:pt>
                <c:pt idx="88">
                  <c:v>673902</c:v>
                </c:pt>
                <c:pt idx="89">
                  <c:v>671411</c:v>
                </c:pt>
                <c:pt idx="90">
                  <c:v>661356</c:v>
                </c:pt>
                <c:pt idx="91">
                  <c:v>740101</c:v>
                </c:pt>
                <c:pt idx="92">
                  <c:v>655060</c:v>
                </c:pt>
                <c:pt idx="93">
                  <c:v>666566</c:v>
                </c:pt>
                <c:pt idx="94">
                  <c:v>649867</c:v>
                </c:pt>
                <c:pt idx="95">
                  <c:v>654732</c:v>
                </c:pt>
                <c:pt idx="96">
                  <c:v>671987</c:v>
                </c:pt>
                <c:pt idx="97">
                  <c:v>626279</c:v>
                </c:pt>
                <c:pt idx="98">
                  <c:v>629600</c:v>
                </c:pt>
                <c:pt idx="99">
                  <c:v>584702</c:v>
                </c:pt>
                <c:pt idx="100">
                  <c:v>651180</c:v>
                </c:pt>
                <c:pt idx="101">
                  <c:v>647155</c:v>
                </c:pt>
                <c:pt idx="102">
                  <c:v>672966</c:v>
                </c:pt>
                <c:pt idx="103">
                  <c:v>596213</c:v>
                </c:pt>
                <c:pt idx="104">
                  <c:v>599532</c:v>
                </c:pt>
                <c:pt idx="105">
                  <c:v>537794</c:v>
                </c:pt>
                <c:pt idx="106">
                  <c:v>584565</c:v>
                </c:pt>
                <c:pt idx="107">
                  <c:v>5627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543307</c:v>
                </c:pt>
                <c:pt idx="1">
                  <c:v>549412</c:v>
                </c:pt>
                <c:pt idx="2">
                  <c:v>553242</c:v>
                </c:pt>
                <c:pt idx="3">
                  <c:v>552461</c:v>
                </c:pt>
                <c:pt idx="4">
                  <c:v>555085</c:v>
                </c:pt>
                <c:pt idx="5">
                  <c:v>561484</c:v>
                </c:pt>
                <c:pt idx="6">
                  <c:v>565410</c:v>
                </c:pt>
                <c:pt idx="7">
                  <c:v>562436</c:v>
                </c:pt>
                <c:pt idx="8">
                  <c:v>558529</c:v>
                </c:pt>
                <c:pt idx="9">
                  <c:v>548934</c:v>
                </c:pt>
                <c:pt idx="10">
                  <c:v>544574</c:v>
                </c:pt>
                <c:pt idx="11">
                  <c:v>536705</c:v>
                </c:pt>
                <c:pt idx="12">
                  <c:v>526431</c:v>
                </c:pt>
                <c:pt idx="13">
                  <c:v>510482</c:v>
                </c:pt>
                <c:pt idx="14">
                  <c:v>626264</c:v>
                </c:pt>
                <c:pt idx="15">
                  <c:v>632182</c:v>
                </c:pt>
                <c:pt idx="16">
                  <c:v>627066</c:v>
                </c:pt>
                <c:pt idx="17">
                  <c:v>633925</c:v>
                </c:pt>
                <c:pt idx="18">
                  <c:v>638841</c:v>
                </c:pt>
                <c:pt idx="19">
                  <c:v>670447</c:v>
                </c:pt>
                <c:pt idx="20">
                  <c:v>687503</c:v>
                </c:pt>
                <c:pt idx="21">
                  <c:v>696094</c:v>
                </c:pt>
                <c:pt idx="22">
                  <c:v>697958</c:v>
                </c:pt>
                <c:pt idx="23">
                  <c:v>705621</c:v>
                </c:pt>
                <c:pt idx="24">
                  <c:v>708432</c:v>
                </c:pt>
                <c:pt idx="25">
                  <c:v>708003</c:v>
                </c:pt>
                <c:pt idx="26">
                  <c:v>722072</c:v>
                </c:pt>
                <c:pt idx="27">
                  <c:v>747388</c:v>
                </c:pt>
                <c:pt idx="28">
                  <c:v>743554</c:v>
                </c:pt>
                <c:pt idx="29">
                  <c:v>740739</c:v>
                </c:pt>
                <c:pt idx="30">
                  <c:v>733491</c:v>
                </c:pt>
                <c:pt idx="31">
                  <c:v>726354</c:v>
                </c:pt>
                <c:pt idx="32">
                  <c:v>724022</c:v>
                </c:pt>
                <c:pt idx="33">
                  <c:v>718136</c:v>
                </c:pt>
                <c:pt idx="34">
                  <c:v>712562</c:v>
                </c:pt>
                <c:pt idx="35">
                  <c:v>698988</c:v>
                </c:pt>
                <c:pt idx="36">
                  <c:v>693897</c:v>
                </c:pt>
                <c:pt idx="37">
                  <c:v>684527</c:v>
                </c:pt>
                <c:pt idx="38">
                  <c:v>676751</c:v>
                </c:pt>
                <c:pt idx="39">
                  <c:v>666895</c:v>
                </c:pt>
                <c:pt idx="40">
                  <c:v>661100</c:v>
                </c:pt>
                <c:pt idx="41">
                  <c:v>660021</c:v>
                </c:pt>
                <c:pt idx="42">
                  <c:v>654272</c:v>
                </c:pt>
                <c:pt idx="43">
                  <c:v>644929</c:v>
                </c:pt>
                <c:pt idx="44">
                  <c:v>639190</c:v>
                </c:pt>
                <c:pt idx="45">
                  <c:v>642724</c:v>
                </c:pt>
                <c:pt idx="46">
                  <c:v>645018</c:v>
                </c:pt>
                <c:pt idx="47">
                  <c:v>658587</c:v>
                </c:pt>
                <c:pt idx="48">
                  <c:v>650422</c:v>
                </c:pt>
                <c:pt idx="49">
                  <c:v>649682</c:v>
                </c:pt>
                <c:pt idx="50">
                  <c:v>653527</c:v>
                </c:pt>
                <c:pt idx="51">
                  <c:v>649743</c:v>
                </c:pt>
                <c:pt idx="52">
                  <c:v>648902</c:v>
                </c:pt>
                <c:pt idx="53">
                  <c:v>654294</c:v>
                </c:pt>
                <c:pt idx="54">
                  <c:v>648995</c:v>
                </c:pt>
                <c:pt idx="55">
                  <c:v>637749</c:v>
                </c:pt>
                <c:pt idx="56">
                  <c:v>651448</c:v>
                </c:pt>
                <c:pt idx="57">
                  <c:v>659141</c:v>
                </c:pt>
                <c:pt idx="58">
                  <c:v>667581</c:v>
                </c:pt>
                <c:pt idx="59">
                  <c:v>676907</c:v>
                </c:pt>
                <c:pt idx="60">
                  <c:v>679775</c:v>
                </c:pt>
                <c:pt idx="61">
                  <c:v>681833</c:v>
                </c:pt>
                <c:pt idx="62">
                  <c:v>688085</c:v>
                </c:pt>
                <c:pt idx="63">
                  <c:v>685556</c:v>
                </c:pt>
                <c:pt idx="64">
                  <c:v>674037</c:v>
                </c:pt>
                <c:pt idx="65">
                  <c:v>659306</c:v>
                </c:pt>
                <c:pt idx="66">
                  <c:v>651605</c:v>
                </c:pt>
                <c:pt idx="67">
                  <c:v>652679</c:v>
                </c:pt>
                <c:pt idx="68">
                  <c:v>655174</c:v>
                </c:pt>
                <c:pt idx="69">
                  <c:v>660025</c:v>
                </c:pt>
                <c:pt idx="70">
                  <c:v>660694</c:v>
                </c:pt>
                <c:pt idx="71">
                  <c:v>675383</c:v>
                </c:pt>
                <c:pt idx="72">
                  <c:v>687867</c:v>
                </c:pt>
                <c:pt idx="73">
                  <c:v>708178</c:v>
                </c:pt>
                <c:pt idx="74">
                  <c:v>729986</c:v>
                </c:pt>
                <c:pt idx="75">
                  <c:v>743238</c:v>
                </c:pt>
                <c:pt idx="76">
                  <c:v>744184</c:v>
                </c:pt>
                <c:pt idx="77">
                  <c:v>738750</c:v>
                </c:pt>
                <c:pt idx="78">
                  <c:v>735583</c:v>
                </c:pt>
                <c:pt idx="79">
                  <c:v>728561</c:v>
                </c:pt>
                <c:pt idx="80">
                  <c:v>726586</c:v>
                </c:pt>
                <c:pt idx="81">
                  <c:v>725615</c:v>
                </c:pt>
                <c:pt idx="82">
                  <c:v>723814</c:v>
                </c:pt>
                <c:pt idx="83">
                  <c:v>714930</c:v>
                </c:pt>
                <c:pt idx="84">
                  <c:v>717956</c:v>
                </c:pt>
                <c:pt idx="85">
                  <c:v>714767</c:v>
                </c:pt>
                <c:pt idx="86">
                  <c:v>713043</c:v>
                </c:pt>
                <c:pt idx="87">
                  <c:v>704410</c:v>
                </c:pt>
                <c:pt idx="88">
                  <c:v>706475</c:v>
                </c:pt>
                <c:pt idx="89">
                  <c:v>696450</c:v>
                </c:pt>
                <c:pt idx="90">
                  <c:v>690082</c:v>
                </c:pt>
                <c:pt idx="91">
                  <c:v>681575</c:v>
                </c:pt>
                <c:pt idx="92">
                  <c:v>672273</c:v>
                </c:pt>
                <c:pt idx="93">
                  <c:v>671976</c:v>
                </c:pt>
                <c:pt idx="94">
                  <c:v>666263</c:v>
                </c:pt>
                <c:pt idx="95">
                  <c:v>662172</c:v>
                </c:pt>
                <c:pt idx="96">
                  <c:v>673580</c:v>
                </c:pt>
                <c:pt idx="97">
                  <c:v>642285</c:v>
                </c:pt>
                <c:pt idx="98">
                  <c:v>639003</c:v>
                </c:pt>
                <c:pt idx="99">
                  <c:v>641180</c:v>
                </c:pt>
                <c:pt idx="100">
                  <c:v>634768</c:v>
                </c:pt>
                <c:pt idx="101">
                  <c:v>629976</c:v>
                </c:pt>
                <c:pt idx="102">
                  <c:v>623586</c:v>
                </c:pt>
                <c:pt idx="103">
                  <c:v>614045</c:v>
                </c:pt>
                <c:pt idx="104">
                  <c:v>609436</c:v>
                </c:pt>
                <c:pt idx="105">
                  <c:v>582442</c:v>
                </c:pt>
                <c:pt idx="106">
                  <c:v>608376</c:v>
                </c:pt>
                <c:pt idx="107">
                  <c:v>59254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02</c:v>
                </c:pt>
                <c:pt idx="2">
                  <c:v>0.01</c:v>
                </c:pt>
                <c:pt idx="3">
                  <c:v>0.01</c:v>
                </c:pt>
                <c:pt idx="4">
                  <c:v>0</c:v>
                </c:pt>
                <c:pt idx="5">
                  <c:v>0</c:v>
                </c:pt>
                <c:pt idx="6">
                  <c:v>0</c:v>
                </c:pt>
                <c:pt idx="7">
                  <c:v>0</c:v>
                </c:pt>
                <c:pt idx="8">
                  <c:v>0</c:v>
                </c:pt>
                <c:pt idx="9">
                  <c:v>0</c:v>
                </c:pt>
                <c:pt idx="10">
                  <c:v>0</c:v>
                </c:pt>
                <c:pt idx="11">
                  <c:v>0</c:v>
                </c:pt>
                <c:pt idx="12">
                  <c:v>0</c:v>
                </c:pt>
                <c:pt idx="13">
                  <c:v>0</c:v>
                </c:pt>
                <c:pt idx="14">
                  <c:v>0.02</c:v>
                </c:pt>
                <c:pt idx="15">
                  <c:v>0.02</c:v>
                </c:pt>
                <c:pt idx="16">
                  <c:v>0.01</c:v>
                </c:pt>
                <c:pt idx="17">
                  <c:v>0.01</c:v>
                </c:pt>
                <c:pt idx="18">
                  <c:v>0.01</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1</c:v>
                </c:pt>
                <c:pt idx="38">
                  <c:v>0.02</c:v>
                </c:pt>
                <c:pt idx="39">
                  <c:v>0.01</c:v>
                </c:pt>
                <c:pt idx="40">
                  <c:v>0.01</c:v>
                </c:pt>
                <c:pt idx="41">
                  <c:v>0.01</c:v>
                </c:pt>
                <c:pt idx="42">
                  <c:v>0.01</c:v>
                </c:pt>
                <c:pt idx="43">
                  <c:v>0.01</c:v>
                </c:pt>
                <c:pt idx="44">
                  <c:v>0.01</c:v>
                </c:pt>
                <c:pt idx="45">
                  <c:v>0.01</c:v>
                </c:pt>
                <c:pt idx="46">
                  <c:v>0.01</c:v>
                </c:pt>
                <c:pt idx="47">
                  <c:v>0</c:v>
                </c:pt>
                <c:pt idx="48">
                  <c:v>0</c:v>
                </c:pt>
                <c:pt idx="49">
                  <c:v>0.01</c:v>
                </c:pt>
                <c:pt idx="50">
                  <c:v>0.01</c:v>
                </c:pt>
                <c:pt idx="51">
                  <c:v>0.01</c:v>
                </c:pt>
                <c:pt idx="52">
                  <c:v>0.02</c:v>
                </c:pt>
                <c:pt idx="53">
                  <c:v>0.04</c:v>
                </c:pt>
                <c:pt idx="54">
                  <c:v>0.04</c:v>
                </c:pt>
                <c:pt idx="55">
                  <c:v>0.04</c:v>
                </c:pt>
                <c:pt idx="56">
                  <c:v>0.04</c:v>
                </c:pt>
                <c:pt idx="57">
                  <c:v>0.05</c:v>
                </c:pt>
                <c:pt idx="58">
                  <c:v>0.05</c:v>
                </c:pt>
                <c:pt idx="59">
                  <c:v>0.03</c:v>
                </c:pt>
                <c:pt idx="60">
                  <c:v>0.01</c:v>
                </c:pt>
                <c:pt idx="61">
                  <c:v>0.01</c:v>
                </c:pt>
                <c:pt idx="62">
                  <c:v>0</c:v>
                </c:pt>
                <c:pt idx="63">
                  <c:v>0.01</c:v>
                </c:pt>
                <c:pt idx="64">
                  <c:v>0.01</c:v>
                </c:pt>
                <c:pt idx="65">
                  <c:v>0.1</c:v>
                </c:pt>
                <c:pt idx="66">
                  <c:v>0.18</c:v>
                </c:pt>
                <c:pt idx="67">
                  <c:v>0.18</c:v>
                </c:pt>
                <c:pt idx="68">
                  <c:v>0.19</c:v>
                </c:pt>
                <c:pt idx="69">
                  <c:v>0.19</c:v>
                </c:pt>
                <c:pt idx="70">
                  <c:v>0.19</c:v>
                </c:pt>
                <c:pt idx="71">
                  <c:v>0.2</c:v>
                </c:pt>
                <c:pt idx="72">
                  <c:v>0.2</c:v>
                </c:pt>
                <c:pt idx="73">
                  <c:v>0.2</c:v>
                </c:pt>
                <c:pt idx="74">
                  <c:v>0.2</c:v>
                </c:pt>
                <c:pt idx="75">
                  <c:v>0.2</c:v>
                </c:pt>
                <c:pt idx="76">
                  <c:v>0.17</c:v>
                </c:pt>
                <c:pt idx="77">
                  <c:v>0.02</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3</c:v>
                </c:pt>
                <c:pt idx="102">
                  <c:v>0.04</c:v>
                </c:pt>
                <c:pt idx="103">
                  <c:v>0.03</c:v>
                </c:pt>
                <c:pt idx="104">
                  <c:v>0.03</c:v>
                </c:pt>
                <c:pt idx="105">
                  <c:v>0.03</c:v>
                </c:pt>
                <c:pt idx="106">
                  <c:v>0.03</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4</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552</c:v>
                </c:pt>
                <c:pt idx="1">
                  <c:v>55607</c:v>
                </c:pt>
                <c:pt idx="2">
                  <c:v>62191</c:v>
                </c:pt>
                <c:pt idx="3">
                  <c:v>38939</c:v>
                </c:pt>
                <c:pt idx="4">
                  <c:v>25211</c:v>
                </c:pt>
                <c:pt idx="5">
                  <c:v>37517</c:v>
                </c:pt>
                <c:pt idx="6">
                  <c:v>43900</c:v>
                </c:pt>
                <c:pt idx="7">
                  <c:v>61948</c:v>
                </c:pt>
                <c:pt idx="8">
                  <c:v>36114</c:v>
                </c:pt>
                <c:pt idx="9">
                  <c:v>36299</c:v>
                </c:pt>
                <c:pt idx="10">
                  <c:v>52839</c:v>
                </c:pt>
                <c:pt idx="11">
                  <c:v>41265</c:v>
                </c:pt>
                <c:pt idx="12">
                  <c:v>30335</c:v>
                </c:pt>
                <c:pt idx="13">
                  <c:v>31334</c:v>
                </c:pt>
                <c:pt idx="14">
                  <c:v>34629</c:v>
                </c:pt>
                <c:pt idx="15">
                  <c:v>61500</c:v>
                </c:pt>
                <c:pt idx="16">
                  <c:v>29963</c:v>
                </c:pt>
                <c:pt idx="17">
                  <c:v>7324</c:v>
                </c:pt>
                <c:pt idx="18">
                  <c:v>3608</c:v>
                </c:pt>
                <c:pt idx="19">
                  <c:v>3097</c:v>
                </c:pt>
                <c:pt idx="20">
                  <c:v>4138</c:v>
                </c:pt>
                <c:pt idx="21">
                  <c:v>1660</c:v>
                </c:pt>
                <c:pt idx="22">
                  <c:v>1281</c:v>
                </c:pt>
                <c:pt idx="23">
                  <c:v>1444</c:v>
                </c:pt>
                <c:pt idx="24">
                  <c:v>1245</c:v>
                </c:pt>
                <c:pt idx="25">
                  <c:v>1274</c:v>
                </c:pt>
                <c:pt idx="26">
                  <c:v>1301</c:v>
                </c:pt>
                <c:pt idx="27">
                  <c:v>24452</c:v>
                </c:pt>
                <c:pt idx="28">
                  <c:v>58592</c:v>
                </c:pt>
                <c:pt idx="29">
                  <c:v>33161</c:v>
                </c:pt>
                <c:pt idx="30">
                  <c:v>36436</c:v>
                </c:pt>
                <c:pt idx="31">
                  <c:v>38443</c:v>
                </c:pt>
                <c:pt idx="32">
                  <c:v>34229</c:v>
                </c:pt>
                <c:pt idx="33">
                  <c:v>40534</c:v>
                </c:pt>
                <c:pt idx="34">
                  <c:v>44723</c:v>
                </c:pt>
                <c:pt idx="35">
                  <c:v>16626</c:v>
                </c:pt>
                <c:pt idx="36">
                  <c:v>2709</c:v>
                </c:pt>
                <c:pt idx="37">
                  <c:v>1445</c:v>
                </c:pt>
                <c:pt idx="38">
                  <c:v>14426</c:v>
                </c:pt>
                <c:pt idx="39">
                  <c:v>27646</c:v>
                </c:pt>
                <c:pt idx="40">
                  <c:v>70667</c:v>
                </c:pt>
                <c:pt idx="41">
                  <c:v>86170</c:v>
                </c:pt>
                <c:pt idx="42">
                  <c:v>83230</c:v>
                </c:pt>
                <c:pt idx="43">
                  <c:v>86035</c:v>
                </c:pt>
                <c:pt idx="44">
                  <c:v>65534</c:v>
                </c:pt>
                <c:pt idx="45">
                  <c:v>75820</c:v>
                </c:pt>
                <c:pt idx="46">
                  <c:v>127420</c:v>
                </c:pt>
                <c:pt idx="47">
                  <c:v>124751</c:v>
                </c:pt>
                <c:pt idx="48">
                  <c:v>170392</c:v>
                </c:pt>
                <c:pt idx="49">
                  <c:v>278041</c:v>
                </c:pt>
                <c:pt idx="50">
                  <c:v>536730</c:v>
                </c:pt>
                <c:pt idx="51">
                  <c:v>743924</c:v>
                </c:pt>
                <c:pt idx="52">
                  <c:v>77550</c:v>
                </c:pt>
                <c:pt idx="53">
                  <c:v>43087</c:v>
                </c:pt>
                <c:pt idx="54">
                  <c:v>23260</c:v>
                </c:pt>
                <c:pt idx="55">
                  <c:v>13223</c:v>
                </c:pt>
                <c:pt idx="56">
                  <c:v>40894</c:v>
                </c:pt>
                <c:pt idx="57">
                  <c:v>72962</c:v>
                </c:pt>
                <c:pt idx="58">
                  <c:v>86685</c:v>
                </c:pt>
                <c:pt idx="59">
                  <c:v>141360</c:v>
                </c:pt>
                <c:pt idx="60">
                  <c:v>124422</c:v>
                </c:pt>
                <c:pt idx="61">
                  <c:v>114790</c:v>
                </c:pt>
                <c:pt idx="62">
                  <c:v>93992</c:v>
                </c:pt>
                <c:pt idx="63">
                  <c:v>77088</c:v>
                </c:pt>
                <c:pt idx="64">
                  <c:v>60757</c:v>
                </c:pt>
                <c:pt idx="65">
                  <c:v>58902</c:v>
                </c:pt>
                <c:pt idx="66">
                  <c:v>58569</c:v>
                </c:pt>
                <c:pt idx="67">
                  <c:v>71539</c:v>
                </c:pt>
                <c:pt idx="68">
                  <c:v>51474</c:v>
                </c:pt>
                <c:pt idx="69">
                  <c:v>52651</c:v>
                </c:pt>
                <c:pt idx="70">
                  <c:v>50118</c:v>
                </c:pt>
                <c:pt idx="71">
                  <c:v>48985</c:v>
                </c:pt>
                <c:pt idx="72">
                  <c:v>35216</c:v>
                </c:pt>
                <c:pt idx="73">
                  <c:v>517</c:v>
                </c:pt>
                <c:pt idx="74">
                  <c:v>1058</c:v>
                </c:pt>
                <c:pt idx="75">
                  <c:v>593</c:v>
                </c:pt>
                <c:pt idx="76">
                  <c:v>1677</c:v>
                </c:pt>
                <c:pt idx="77">
                  <c:v>455</c:v>
                </c:pt>
                <c:pt idx="78">
                  <c:v>1497</c:v>
                </c:pt>
                <c:pt idx="79">
                  <c:v>27642</c:v>
                </c:pt>
                <c:pt idx="80">
                  <c:v>52105</c:v>
                </c:pt>
                <c:pt idx="81">
                  <c:v>53595</c:v>
                </c:pt>
                <c:pt idx="82">
                  <c:v>51936</c:v>
                </c:pt>
                <c:pt idx="83">
                  <c:v>14395</c:v>
                </c:pt>
                <c:pt idx="84">
                  <c:v>11799</c:v>
                </c:pt>
                <c:pt idx="85">
                  <c:v>884</c:v>
                </c:pt>
                <c:pt idx="86">
                  <c:v>7938</c:v>
                </c:pt>
                <c:pt idx="87">
                  <c:v>1087</c:v>
                </c:pt>
                <c:pt idx="88">
                  <c:v>1161</c:v>
                </c:pt>
                <c:pt idx="89">
                  <c:v>1054</c:v>
                </c:pt>
                <c:pt idx="90">
                  <c:v>13493</c:v>
                </c:pt>
                <c:pt idx="91">
                  <c:v>29983</c:v>
                </c:pt>
                <c:pt idx="92">
                  <c:v>54528</c:v>
                </c:pt>
                <c:pt idx="93">
                  <c:v>82308</c:v>
                </c:pt>
                <c:pt idx="94">
                  <c:v>58393</c:v>
                </c:pt>
                <c:pt idx="95">
                  <c:v>35221</c:v>
                </c:pt>
                <c:pt idx="96">
                  <c:v>44720</c:v>
                </c:pt>
                <c:pt idx="97">
                  <c:v>103863</c:v>
                </c:pt>
                <c:pt idx="98">
                  <c:v>225472</c:v>
                </c:pt>
                <c:pt idx="99">
                  <c:v>260287</c:v>
                </c:pt>
                <c:pt idx="100">
                  <c:v>286691</c:v>
                </c:pt>
                <c:pt idx="101">
                  <c:v>334746</c:v>
                </c:pt>
                <c:pt idx="102">
                  <c:v>442205</c:v>
                </c:pt>
                <c:pt idx="103">
                  <c:v>616012</c:v>
                </c:pt>
                <c:pt idx="104">
                  <c:v>173268</c:v>
                </c:pt>
                <c:pt idx="105">
                  <c:v>152568</c:v>
                </c:pt>
                <c:pt idx="106">
                  <c:v>151211</c:v>
                </c:pt>
                <c:pt idx="107">
                  <c:v>13588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6194</c:v>
                </c:pt>
                <c:pt idx="1">
                  <c:v>276241</c:v>
                </c:pt>
                <c:pt idx="2">
                  <c:v>279480</c:v>
                </c:pt>
                <c:pt idx="3">
                  <c:v>276889</c:v>
                </c:pt>
                <c:pt idx="4">
                  <c:v>287655</c:v>
                </c:pt>
                <c:pt idx="5">
                  <c:v>284051</c:v>
                </c:pt>
                <c:pt idx="6">
                  <c:v>268302</c:v>
                </c:pt>
                <c:pt idx="7">
                  <c:v>284396</c:v>
                </c:pt>
                <c:pt idx="8">
                  <c:v>307398</c:v>
                </c:pt>
                <c:pt idx="9">
                  <c:v>282043</c:v>
                </c:pt>
                <c:pt idx="10">
                  <c:v>283883</c:v>
                </c:pt>
                <c:pt idx="11">
                  <c:v>283827</c:v>
                </c:pt>
                <c:pt idx="12">
                  <c:v>280340</c:v>
                </c:pt>
                <c:pt idx="13">
                  <c:v>308534</c:v>
                </c:pt>
                <c:pt idx="14">
                  <c:v>268837</c:v>
                </c:pt>
                <c:pt idx="15">
                  <c:v>275606</c:v>
                </c:pt>
                <c:pt idx="16">
                  <c:v>279051</c:v>
                </c:pt>
                <c:pt idx="17">
                  <c:v>314537</c:v>
                </c:pt>
                <c:pt idx="18">
                  <c:v>296923</c:v>
                </c:pt>
                <c:pt idx="19">
                  <c:v>292599</c:v>
                </c:pt>
                <c:pt idx="20">
                  <c:v>320553</c:v>
                </c:pt>
                <c:pt idx="21">
                  <c:v>324277</c:v>
                </c:pt>
                <c:pt idx="22">
                  <c:v>322341</c:v>
                </c:pt>
                <c:pt idx="23">
                  <c:v>313544</c:v>
                </c:pt>
                <c:pt idx="24">
                  <c:v>311314</c:v>
                </c:pt>
                <c:pt idx="25">
                  <c:v>314892</c:v>
                </c:pt>
                <c:pt idx="26">
                  <c:v>326585</c:v>
                </c:pt>
                <c:pt idx="27">
                  <c:v>297609</c:v>
                </c:pt>
                <c:pt idx="28">
                  <c:v>294058</c:v>
                </c:pt>
                <c:pt idx="29">
                  <c:v>300253</c:v>
                </c:pt>
                <c:pt idx="30">
                  <c:v>314149</c:v>
                </c:pt>
                <c:pt idx="31">
                  <c:v>289641</c:v>
                </c:pt>
                <c:pt idx="32">
                  <c:v>298797</c:v>
                </c:pt>
                <c:pt idx="33">
                  <c:v>284647</c:v>
                </c:pt>
                <c:pt idx="34">
                  <c:v>295086</c:v>
                </c:pt>
                <c:pt idx="35">
                  <c:v>311907</c:v>
                </c:pt>
                <c:pt idx="36">
                  <c:v>303558</c:v>
                </c:pt>
                <c:pt idx="37">
                  <c:v>295646</c:v>
                </c:pt>
                <c:pt idx="38">
                  <c:v>283629</c:v>
                </c:pt>
                <c:pt idx="39">
                  <c:v>284403</c:v>
                </c:pt>
                <c:pt idx="40">
                  <c:v>250103</c:v>
                </c:pt>
                <c:pt idx="41">
                  <c:v>249253</c:v>
                </c:pt>
                <c:pt idx="42">
                  <c:v>250419</c:v>
                </c:pt>
                <c:pt idx="43">
                  <c:v>259281</c:v>
                </c:pt>
                <c:pt idx="44">
                  <c:v>285182</c:v>
                </c:pt>
                <c:pt idx="45">
                  <c:v>279644</c:v>
                </c:pt>
                <c:pt idx="46">
                  <c:v>261270</c:v>
                </c:pt>
                <c:pt idx="47">
                  <c:v>273273</c:v>
                </c:pt>
                <c:pt idx="48">
                  <c:v>285526</c:v>
                </c:pt>
                <c:pt idx="49">
                  <c:v>256406</c:v>
                </c:pt>
                <c:pt idx="50">
                  <c:v>263449</c:v>
                </c:pt>
                <c:pt idx="51">
                  <c:v>183406</c:v>
                </c:pt>
                <c:pt idx="52">
                  <c:v>200027</c:v>
                </c:pt>
                <c:pt idx="53">
                  <c:v>190664</c:v>
                </c:pt>
                <c:pt idx="54">
                  <c:v>229837</c:v>
                </c:pt>
                <c:pt idx="55">
                  <c:v>256890</c:v>
                </c:pt>
                <c:pt idx="56">
                  <c:v>239412</c:v>
                </c:pt>
                <c:pt idx="57">
                  <c:v>216567</c:v>
                </c:pt>
                <c:pt idx="58">
                  <c:v>188580</c:v>
                </c:pt>
                <c:pt idx="59">
                  <c:v>185131</c:v>
                </c:pt>
                <c:pt idx="60">
                  <c:v>181895</c:v>
                </c:pt>
                <c:pt idx="61">
                  <c:v>179784</c:v>
                </c:pt>
                <c:pt idx="62">
                  <c:v>186298</c:v>
                </c:pt>
                <c:pt idx="63">
                  <c:v>212664</c:v>
                </c:pt>
                <c:pt idx="64">
                  <c:v>215641</c:v>
                </c:pt>
                <c:pt idx="65">
                  <c:v>218990</c:v>
                </c:pt>
                <c:pt idx="66">
                  <c:v>207026</c:v>
                </c:pt>
                <c:pt idx="67">
                  <c:v>205800</c:v>
                </c:pt>
                <c:pt idx="68">
                  <c:v>204805</c:v>
                </c:pt>
                <c:pt idx="69">
                  <c:v>215537</c:v>
                </c:pt>
                <c:pt idx="70">
                  <c:v>210607</c:v>
                </c:pt>
                <c:pt idx="71">
                  <c:v>203745</c:v>
                </c:pt>
                <c:pt idx="72">
                  <c:v>243155</c:v>
                </c:pt>
                <c:pt idx="73">
                  <c:v>258596</c:v>
                </c:pt>
                <c:pt idx="74">
                  <c:v>276113</c:v>
                </c:pt>
                <c:pt idx="75">
                  <c:v>264171</c:v>
                </c:pt>
                <c:pt idx="76">
                  <c:v>262901</c:v>
                </c:pt>
                <c:pt idx="77">
                  <c:v>262688</c:v>
                </c:pt>
                <c:pt idx="78">
                  <c:v>285638</c:v>
                </c:pt>
                <c:pt idx="79">
                  <c:v>238474</c:v>
                </c:pt>
                <c:pt idx="80">
                  <c:v>225707</c:v>
                </c:pt>
                <c:pt idx="81">
                  <c:v>213913</c:v>
                </c:pt>
                <c:pt idx="82">
                  <c:v>222844</c:v>
                </c:pt>
                <c:pt idx="83">
                  <c:v>252437</c:v>
                </c:pt>
                <c:pt idx="84">
                  <c:v>250944</c:v>
                </c:pt>
                <c:pt idx="85">
                  <c:v>257630</c:v>
                </c:pt>
                <c:pt idx="86">
                  <c:v>247341</c:v>
                </c:pt>
                <c:pt idx="87">
                  <c:v>258391</c:v>
                </c:pt>
                <c:pt idx="88">
                  <c:v>240870</c:v>
                </c:pt>
                <c:pt idx="89">
                  <c:v>244302</c:v>
                </c:pt>
                <c:pt idx="90">
                  <c:v>223766</c:v>
                </c:pt>
                <c:pt idx="91">
                  <c:v>244445</c:v>
                </c:pt>
                <c:pt idx="92">
                  <c:v>204110</c:v>
                </c:pt>
                <c:pt idx="93">
                  <c:v>194758</c:v>
                </c:pt>
                <c:pt idx="94">
                  <c:v>213419</c:v>
                </c:pt>
                <c:pt idx="95">
                  <c:v>236793</c:v>
                </c:pt>
                <c:pt idx="96">
                  <c:v>249771</c:v>
                </c:pt>
                <c:pt idx="97">
                  <c:v>189380</c:v>
                </c:pt>
                <c:pt idx="98">
                  <c:v>73838</c:v>
                </c:pt>
                <c:pt idx="99">
                  <c:v>71147</c:v>
                </c:pt>
                <c:pt idx="100">
                  <c:v>78918</c:v>
                </c:pt>
                <c:pt idx="101">
                  <c:v>74829</c:v>
                </c:pt>
                <c:pt idx="102">
                  <c:v>82211</c:v>
                </c:pt>
                <c:pt idx="103">
                  <c:v>89978</c:v>
                </c:pt>
                <c:pt idx="104">
                  <c:v>69519</c:v>
                </c:pt>
                <c:pt idx="105">
                  <c:v>67942</c:v>
                </c:pt>
                <c:pt idx="106">
                  <c:v>80565</c:v>
                </c:pt>
                <c:pt idx="107">
                  <c:v>7978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8746</c:v>
                </c:pt>
                <c:pt idx="1">
                  <c:v>331848</c:v>
                </c:pt>
                <c:pt idx="2">
                  <c:v>341671</c:v>
                </c:pt>
                <c:pt idx="3">
                  <c:v>315828</c:v>
                </c:pt>
                <c:pt idx="4">
                  <c:v>312866</c:v>
                </c:pt>
                <c:pt idx="5">
                  <c:v>321568</c:v>
                </c:pt>
                <c:pt idx="6">
                  <c:v>312202</c:v>
                </c:pt>
                <c:pt idx="7">
                  <c:v>346344</c:v>
                </c:pt>
                <c:pt idx="8">
                  <c:v>343512</c:v>
                </c:pt>
                <c:pt idx="9">
                  <c:v>318342</c:v>
                </c:pt>
                <c:pt idx="10">
                  <c:v>336722</c:v>
                </c:pt>
                <c:pt idx="11">
                  <c:v>325092</c:v>
                </c:pt>
                <c:pt idx="12">
                  <c:v>310675</c:v>
                </c:pt>
                <c:pt idx="13">
                  <c:v>339868</c:v>
                </c:pt>
                <c:pt idx="14">
                  <c:v>303466</c:v>
                </c:pt>
                <c:pt idx="15">
                  <c:v>337106</c:v>
                </c:pt>
                <c:pt idx="16">
                  <c:v>309014</c:v>
                </c:pt>
                <c:pt idx="17">
                  <c:v>321861</c:v>
                </c:pt>
                <c:pt idx="18">
                  <c:v>300531</c:v>
                </c:pt>
                <c:pt idx="19">
                  <c:v>295696</c:v>
                </c:pt>
                <c:pt idx="20">
                  <c:v>324691</c:v>
                </c:pt>
                <c:pt idx="21">
                  <c:v>325937</c:v>
                </c:pt>
                <c:pt idx="22">
                  <c:v>323622</c:v>
                </c:pt>
                <c:pt idx="23">
                  <c:v>314988</c:v>
                </c:pt>
                <c:pt idx="24">
                  <c:v>312559</c:v>
                </c:pt>
                <c:pt idx="25">
                  <c:v>316166</c:v>
                </c:pt>
                <c:pt idx="26">
                  <c:v>327886</c:v>
                </c:pt>
                <c:pt idx="27">
                  <c:v>322061</c:v>
                </c:pt>
                <c:pt idx="28">
                  <c:v>352650</c:v>
                </c:pt>
                <c:pt idx="29">
                  <c:v>333414</c:v>
                </c:pt>
                <c:pt idx="30">
                  <c:v>350585</c:v>
                </c:pt>
                <c:pt idx="31">
                  <c:v>328084</c:v>
                </c:pt>
                <c:pt idx="32">
                  <c:v>333026</c:v>
                </c:pt>
                <c:pt idx="33">
                  <c:v>325181</c:v>
                </c:pt>
                <c:pt idx="34">
                  <c:v>339809</c:v>
                </c:pt>
                <c:pt idx="35">
                  <c:v>328533</c:v>
                </c:pt>
                <c:pt idx="36">
                  <c:v>306267</c:v>
                </c:pt>
                <c:pt idx="37">
                  <c:v>297091</c:v>
                </c:pt>
                <c:pt idx="38">
                  <c:v>298055</c:v>
                </c:pt>
                <c:pt idx="39">
                  <c:v>312049</c:v>
                </c:pt>
                <c:pt idx="40">
                  <c:v>320770</c:v>
                </c:pt>
                <c:pt idx="41">
                  <c:v>335423</c:v>
                </c:pt>
                <c:pt idx="42">
                  <c:v>333649</c:v>
                </c:pt>
                <c:pt idx="43">
                  <c:v>345316</c:v>
                </c:pt>
                <c:pt idx="44">
                  <c:v>350716</c:v>
                </c:pt>
                <c:pt idx="45">
                  <c:v>355464</c:v>
                </c:pt>
                <c:pt idx="46">
                  <c:v>388690</c:v>
                </c:pt>
                <c:pt idx="47">
                  <c:v>398024</c:v>
                </c:pt>
                <c:pt idx="48">
                  <c:v>455918</c:v>
                </c:pt>
                <c:pt idx="49">
                  <c:v>534447</c:v>
                </c:pt>
                <c:pt idx="50">
                  <c:v>800179</c:v>
                </c:pt>
                <c:pt idx="51">
                  <c:v>927330</c:v>
                </c:pt>
                <c:pt idx="52">
                  <c:v>277577</c:v>
                </c:pt>
                <c:pt idx="53">
                  <c:v>233751</c:v>
                </c:pt>
                <c:pt idx="54">
                  <c:v>253097</c:v>
                </c:pt>
                <c:pt idx="55">
                  <c:v>270113</c:v>
                </c:pt>
                <c:pt idx="56">
                  <c:v>280306</c:v>
                </c:pt>
                <c:pt idx="57">
                  <c:v>289529</c:v>
                </c:pt>
                <c:pt idx="58">
                  <c:v>275265</c:v>
                </c:pt>
                <c:pt idx="59">
                  <c:v>326491</c:v>
                </c:pt>
                <c:pt idx="60">
                  <c:v>306317</c:v>
                </c:pt>
                <c:pt idx="61">
                  <c:v>294574</c:v>
                </c:pt>
                <c:pt idx="62">
                  <c:v>280290</c:v>
                </c:pt>
                <c:pt idx="63">
                  <c:v>289752</c:v>
                </c:pt>
                <c:pt idx="64">
                  <c:v>276398</c:v>
                </c:pt>
                <c:pt idx="65">
                  <c:v>277892</c:v>
                </c:pt>
                <c:pt idx="66">
                  <c:v>265595</c:v>
                </c:pt>
                <c:pt idx="67">
                  <c:v>277339</c:v>
                </c:pt>
                <c:pt idx="68">
                  <c:v>256279</c:v>
                </c:pt>
                <c:pt idx="69">
                  <c:v>268188</c:v>
                </c:pt>
                <c:pt idx="70">
                  <c:v>260725</c:v>
                </c:pt>
                <c:pt idx="71">
                  <c:v>252730</c:v>
                </c:pt>
                <c:pt idx="72">
                  <c:v>278371</c:v>
                </c:pt>
                <c:pt idx="73">
                  <c:v>259113</c:v>
                </c:pt>
                <c:pt idx="74">
                  <c:v>277171</c:v>
                </c:pt>
                <c:pt idx="75">
                  <c:v>264764</c:v>
                </c:pt>
                <c:pt idx="76">
                  <c:v>264578</c:v>
                </c:pt>
                <c:pt idx="77">
                  <c:v>263143</c:v>
                </c:pt>
                <c:pt idx="78">
                  <c:v>287135</c:v>
                </c:pt>
                <c:pt idx="79">
                  <c:v>266116</c:v>
                </c:pt>
                <c:pt idx="80">
                  <c:v>277812</c:v>
                </c:pt>
                <c:pt idx="81">
                  <c:v>267508</c:v>
                </c:pt>
                <c:pt idx="82">
                  <c:v>274780</c:v>
                </c:pt>
                <c:pt idx="83">
                  <c:v>266832</c:v>
                </c:pt>
                <c:pt idx="84">
                  <c:v>262743</c:v>
                </c:pt>
                <c:pt idx="85">
                  <c:v>258514</c:v>
                </c:pt>
                <c:pt idx="86">
                  <c:v>255279</c:v>
                </c:pt>
                <c:pt idx="87">
                  <c:v>259478</c:v>
                </c:pt>
                <c:pt idx="88">
                  <c:v>242031</c:v>
                </c:pt>
                <c:pt idx="89">
                  <c:v>245356</c:v>
                </c:pt>
                <c:pt idx="90">
                  <c:v>237259</c:v>
                </c:pt>
                <c:pt idx="91">
                  <c:v>274428</c:v>
                </c:pt>
                <c:pt idx="92">
                  <c:v>258638</c:v>
                </c:pt>
                <c:pt idx="93">
                  <c:v>277066</c:v>
                </c:pt>
                <c:pt idx="94">
                  <c:v>271812</c:v>
                </c:pt>
                <c:pt idx="95">
                  <c:v>272014</c:v>
                </c:pt>
                <c:pt idx="96">
                  <c:v>294491</c:v>
                </c:pt>
                <c:pt idx="97">
                  <c:v>293243</c:v>
                </c:pt>
                <c:pt idx="98">
                  <c:v>299310</c:v>
                </c:pt>
                <c:pt idx="99">
                  <c:v>331434</c:v>
                </c:pt>
                <c:pt idx="100">
                  <c:v>365609</c:v>
                </c:pt>
                <c:pt idx="101">
                  <c:v>409575</c:v>
                </c:pt>
                <c:pt idx="102">
                  <c:v>524416</c:v>
                </c:pt>
                <c:pt idx="103">
                  <c:v>705990</c:v>
                </c:pt>
                <c:pt idx="104">
                  <c:v>242787</c:v>
                </c:pt>
                <c:pt idx="105">
                  <c:v>220510</c:v>
                </c:pt>
                <c:pt idx="106">
                  <c:v>231776</c:v>
                </c:pt>
                <c:pt idx="107">
                  <c:v>215673</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8446</c:v>
                </c:pt>
                <c:pt idx="1">
                  <c:v>291405</c:v>
                </c:pt>
                <c:pt idx="2">
                  <c:v>295260</c:v>
                </c:pt>
                <c:pt idx="3">
                  <c:v>296754</c:v>
                </c:pt>
                <c:pt idx="4">
                  <c:v>300243</c:v>
                </c:pt>
                <c:pt idx="5">
                  <c:v>306414</c:v>
                </c:pt>
                <c:pt idx="6">
                  <c:v>314217</c:v>
                </c:pt>
                <c:pt idx="7">
                  <c:v>326884</c:v>
                </c:pt>
                <c:pt idx="8">
                  <c:v>330232</c:v>
                </c:pt>
                <c:pt idx="9">
                  <c:v>330109</c:v>
                </c:pt>
                <c:pt idx="10">
                  <c:v>326241</c:v>
                </c:pt>
                <c:pt idx="11">
                  <c:v>324912</c:v>
                </c:pt>
                <c:pt idx="12">
                  <c:v>323728</c:v>
                </c:pt>
                <c:pt idx="13">
                  <c:v>320483</c:v>
                </c:pt>
                <c:pt idx="14">
                  <c:v>321752</c:v>
                </c:pt>
                <c:pt idx="15">
                  <c:v>317714</c:v>
                </c:pt>
                <c:pt idx="16">
                  <c:v>313663</c:v>
                </c:pt>
                <c:pt idx="17">
                  <c:v>315365</c:v>
                </c:pt>
                <c:pt idx="18">
                  <c:v>314183</c:v>
                </c:pt>
                <c:pt idx="19">
                  <c:v>316559</c:v>
                </c:pt>
                <c:pt idx="20">
                  <c:v>314861</c:v>
                </c:pt>
                <c:pt idx="21">
                  <c:v>315173</c:v>
                </c:pt>
                <c:pt idx="22">
                  <c:v>314670</c:v>
                </c:pt>
                <c:pt idx="23">
                  <c:v>318041</c:v>
                </c:pt>
                <c:pt idx="24">
                  <c:v>321046</c:v>
                </c:pt>
                <c:pt idx="25">
                  <c:v>324365</c:v>
                </c:pt>
                <c:pt idx="26">
                  <c:v>324973</c:v>
                </c:pt>
                <c:pt idx="27">
                  <c:v>327384</c:v>
                </c:pt>
                <c:pt idx="28">
                  <c:v>329529</c:v>
                </c:pt>
                <c:pt idx="29">
                  <c:v>331582</c:v>
                </c:pt>
                <c:pt idx="30">
                  <c:v>332994</c:v>
                </c:pt>
                <c:pt idx="31">
                  <c:v>333944</c:v>
                </c:pt>
                <c:pt idx="32">
                  <c:v>334922</c:v>
                </c:pt>
                <c:pt idx="33">
                  <c:v>328521</c:v>
                </c:pt>
                <c:pt idx="34">
                  <c:v>324753</c:v>
                </c:pt>
                <c:pt idx="35">
                  <c:v>318788</c:v>
                </c:pt>
                <c:pt idx="36">
                  <c:v>316955</c:v>
                </c:pt>
                <c:pt idx="37">
                  <c:v>312670</c:v>
                </c:pt>
                <c:pt idx="38">
                  <c:v>308972</c:v>
                </c:pt>
                <c:pt idx="39">
                  <c:v>303051</c:v>
                </c:pt>
                <c:pt idx="40">
                  <c:v>322065</c:v>
                </c:pt>
                <c:pt idx="41">
                  <c:v>336562</c:v>
                </c:pt>
                <c:pt idx="42">
                  <c:v>337323</c:v>
                </c:pt>
                <c:pt idx="43">
                  <c:v>339628</c:v>
                </c:pt>
                <c:pt idx="44">
                  <c:v>340624</c:v>
                </c:pt>
                <c:pt idx="45">
                  <c:v>342966</c:v>
                </c:pt>
                <c:pt idx="46">
                  <c:v>353829</c:v>
                </c:pt>
                <c:pt idx="47">
                  <c:v>358487</c:v>
                </c:pt>
                <c:pt idx="48">
                  <c:v>353308</c:v>
                </c:pt>
                <c:pt idx="49">
                  <c:v>342638</c:v>
                </c:pt>
                <c:pt idx="50">
                  <c:v>334150</c:v>
                </c:pt>
                <c:pt idx="51">
                  <c:v>376965</c:v>
                </c:pt>
                <c:pt idx="52">
                  <c:v>346862</c:v>
                </c:pt>
                <c:pt idx="53">
                  <c:v>301252</c:v>
                </c:pt>
                <c:pt idx="54">
                  <c:v>266796</c:v>
                </c:pt>
                <c:pt idx="55">
                  <c:v>249677</c:v>
                </c:pt>
                <c:pt idx="56">
                  <c:v>260152</c:v>
                </c:pt>
                <c:pt idx="57">
                  <c:v>283414</c:v>
                </c:pt>
                <c:pt idx="58">
                  <c:v>285479</c:v>
                </c:pt>
                <c:pt idx="59">
                  <c:v>290082</c:v>
                </c:pt>
                <c:pt idx="60">
                  <c:v>295985</c:v>
                </c:pt>
                <c:pt idx="61">
                  <c:v>294594</c:v>
                </c:pt>
                <c:pt idx="62">
                  <c:v>292970</c:v>
                </c:pt>
                <c:pt idx="63">
                  <c:v>290524</c:v>
                </c:pt>
                <c:pt idx="64">
                  <c:v>285808</c:v>
                </c:pt>
                <c:pt idx="65">
                  <c:v>281909</c:v>
                </c:pt>
                <c:pt idx="66">
                  <c:v>279802</c:v>
                </c:pt>
                <c:pt idx="67">
                  <c:v>273536</c:v>
                </c:pt>
                <c:pt idx="68">
                  <c:v>265616</c:v>
                </c:pt>
                <c:pt idx="69">
                  <c:v>266174</c:v>
                </c:pt>
                <c:pt idx="70">
                  <c:v>264121</c:v>
                </c:pt>
                <c:pt idx="71">
                  <c:v>264494</c:v>
                </c:pt>
                <c:pt idx="72">
                  <c:v>265183</c:v>
                </c:pt>
                <c:pt idx="73">
                  <c:v>265562</c:v>
                </c:pt>
                <c:pt idx="74">
                  <c:v>264900</c:v>
                </c:pt>
                <c:pt idx="75">
                  <c:v>268365</c:v>
                </c:pt>
                <c:pt idx="76">
                  <c:v>269828</c:v>
                </c:pt>
                <c:pt idx="77">
                  <c:v>269989</c:v>
                </c:pt>
                <c:pt idx="78">
                  <c:v>271017</c:v>
                </c:pt>
                <c:pt idx="79">
                  <c:v>270264</c:v>
                </c:pt>
                <c:pt idx="80">
                  <c:v>270611</c:v>
                </c:pt>
                <c:pt idx="81">
                  <c:v>269887</c:v>
                </c:pt>
                <c:pt idx="82">
                  <c:v>270565</c:v>
                </c:pt>
                <c:pt idx="83">
                  <c:v>265967</c:v>
                </c:pt>
                <c:pt idx="84">
                  <c:v>265170</c:v>
                </c:pt>
                <c:pt idx="85">
                  <c:v>261099</c:v>
                </c:pt>
                <c:pt idx="86">
                  <c:v>258238</c:v>
                </c:pt>
                <c:pt idx="87">
                  <c:v>253737</c:v>
                </c:pt>
                <c:pt idx="88">
                  <c:v>254609</c:v>
                </c:pt>
                <c:pt idx="89">
                  <c:v>252998</c:v>
                </c:pt>
                <c:pt idx="90">
                  <c:v>252270</c:v>
                </c:pt>
                <c:pt idx="91">
                  <c:v>251063</c:v>
                </c:pt>
                <c:pt idx="92">
                  <c:v>253312</c:v>
                </c:pt>
                <c:pt idx="93">
                  <c:v>271158</c:v>
                </c:pt>
                <c:pt idx="94">
                  <c:v>277239</c:v>
                </c:pt>
                <c:pt idx="95">
                  <c:v>283869</c:v>
                </c:pt>
                <c:pt idx="96">
                  <c:v>288792</c:v>
                </c:pt>
                <c:pt idx="97">
                  <c:v>296733</c:v>
                </c:pt>
                <c:pt idx="98">
                  <c:v>305750</c:v>
                </c:pt>
                <c:pt idx="99">
                  <c:v>306113</c:v>
                </c:pt>
                <c:pt idx="100">
                  <c:v>313860</c:v>
                </c:pt>
                <c:pt idx="101">
                  <c:v>313283</c:v>
                </c:pt>
                <c:pt idx="102">
                  <c:v>313288</c:v>
                </c:pt>
                <c:pt idx="103">
                  <c:v>311204</c:v>
                </c:pt>
                <c:pt idx="104">
                  <c:v>269437</c:v>
                </c:pt>
                <c:pt idx="105">
                  <c:v>245473</c:v>
                </c:pt>
                <c:pt idx="106">
                  <c:v>252247</c:v>
                </c:pt>
                <c:pt idx="107">
                  <c:v>2366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4</c:v>
                </c:pt>
                <c:pt idx="4">
                  <c:v>0.16</c:v>
                </c:pt>
                <c:pt idx="5">
                  <c:v>0.2</c:v>
                </c:pt>
                <c:pt idx="6">
                  <c:v>0.2</c:v>
                </c:pt>
                <c:pt idx="7">
                  <c:v>0.22</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01</c:v>
                </c:pt>
                <c:pt idx="24">
                  <c:v>0.01</c:v>
                </c:pt>
                <c:pt idx="25">
                  <c:v>0.01</c:v>
                </c:pt>
                <c:pt idx="26">
                  <c:v>0</c:v>
                </c:pt>
                <c:pt idx="27">
                  <c:v>0.08</c:v>
                </c:pt>
                <c:pt idx="28">
                  <c:v>0.18</c:v>
                </c:pt>
                <c:pt idx="29">
                  <c:v>0.15</c:v>
                </c:pt>
                <c:pt idx="30">
                  <c:v>0.14000000000000001</c:v>
                </c:pt>
                <c:pt idx="31">
                  <c:v>0.13</c:v>
                </c:pt>
                <c:pt idx="32">
                  <c:v>0.12</c:v>
                </c:pt>
                <c:pt idx="33">
                  <c:v>0.14000000000000001</c:v>
                </c:pt>
                <c:pt idx="34">
                  <c:v>0.15</c:v>
                </c:pt>
                <c:pt idx="35">
                  <c:v>0.06</c:v>
                </c:pt>
                <c:pt idx="36">
                  <c:v>0.01</c:v>
                </c:pt>
                <c:pt idx="37">
                  <c:v>0</c:v>
                </c:pt>
                <c:pt idx="38">
                  <c:v>0.06</c:v>
                </c:pt>
                <c:pt idx="39">
                  <c:v>0.1</c:v>
                </c:pt>
                <c:pt idx="40">
                  <c:v>0.24</c:v>
                </c:pt>
                <c:pt idx="41">
                  <c:v>0.27</c:v>
                </c:pt>
                <c:pt idx="42">
                  <c:v>0.27</c:v>
                </c:pt>
                <c:pt idx="43">
                  <c:v>0.25</c:v>
                </c:pt>
                <c:pt idx="44">
                  <c:v>0.17</c:v>
                </c:pt>
                <c:pt idx="45">
                  <c:v>0.19</c:v>
                </c:pt>
                <c:pt idx="46">
                  <c:v>0.28999999999999998</c:v>
                </c:pt>
                <c:pt idx="47">
                  <c:v>0.28000000000000003</c:v>
                </c:pt>
                <c:pt idx="48">
                  <c:v>0.33</c:v>
                </c:pt>
                <c:pt idx="49">
                  <c:v>0.49</c:v>
                </c:pt>
                <c:pt idx="50">
                  <c:v>0.61</c:v>
                </c:pt>
                <c:pt idx="51">
                  <c:v>0.81</c:v>
                </c:pt>
                <c:pt idx="52">
                  <c:v>0.33</c:v>
                </c:pt>
                <c:pt idx="53">
                  <c:v>0.27</c:v>
                </c:pt>
                <c:pt idx="54">
                  <c:v>0.18</c:v>
                </c:pt>
                <c:pt idx="55">
                  <c:v>0.1</c:v>
                </c:pt>
                <c:pt idx="56">
                  <c:v>0.19</c:v>
                </c:pt>
                <c:pt idx="57">
                  <c:v>0.3</c:v>
                </c:pt>
                <c:pt idx="58">
                  <c:v>0.36</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4</c:v>
                </c:pt>
                <c:pt idx="107">
                  <c:v>0.7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259</c:v>
                </c:pt>
                <c:pt idx="1">
                  <c:v>55523</c:v>
                </c:pt>
                <c:pt idx="2">
                  <c:v>62066</c:v>
                </c:pt>
                <c:pt idx="3">
                  <c:v>38805</c:v>
                </c:pt>
                <c:pt idx="4">
                  <c:v>25160</c:v>
                </c:pt>
                <c:pt idx="5">
                  <c:v>36847</c:v>
                </c:pt>
                <c:pt idx="6">
                  <c:v>43294</c:v>
                </c:pt>
                <c:pt idx="7">
                  <c:v>61386</c:v>
                </c:pt>
                <c:pt idx="8">
                  <c:v>35869</c:v>
                </c:pt>
                <c:pt idx="9">
                  <c:v>35896</c:v>
                </c:pt>
                <c:pt idx="10">
                  <c:v>52287</c:v>
                </c:pt>
                <c:pt idx="11">
                  <c:v>40602</c:v>
                </c:pt>
                <c:pt idx="12">
                  <c:v>29449</c:v>
                </c:pt>
                <c:pt idx="13">
                  <c:v>30502</c:v>
                </c:pt>
                <c:pt idx="14">
                  <c:v>34262</c:v>
                </c:pt>
                <c:pt idx="15">
                  <c:v>60735</c:v>
                </c:pt>
                <c:pt idx="16">
                  <c:v>29203</c:v>
                </c:pt>
                <c:pt idx="17">
                  <c:v>6680</c:v>
                </c:pt>
                <c:pt idx="18">
                  <c:v>3057</c:v>
                </c:pt>
                <c:pt idx="19">
                  <c:v>2562</c:v>
                </c:pt>
                <c:pt idx="20">
                  <c:v>3387</c:v>
                </c:pt>
                <c:pt idx="21">
                  <c:v>1289</c:v>
                </c:pt>
                <c:pt idx="22">
                  <c:v>456</c:v>
                </c:pt>
                <c:pt idx="23">
                  <c:v>819</c:v>
                </c:pt>
                <c:pt idx="24">
                  <c:v>855</c:v>
                </c:pt>
                <c:pt idx="25">
                  <c:v>778</c:v>
                </c:pt>
                <c:pt idx="26">
                  <c:v>537</c:v>
                </c:pt>
                <c:pt idx="27">
                  <c:v>23899</c:v>
                </c:pt>
                <c:pt idx="28">
                  <c:v>57953</c:v>
                </c:pt>
                <c:pt idx="29">
                  <c:v>32536</c:v>
                </c:pt>
                <c:pt idx="30">
                  <c:v>35833</c:v>
                </c:pt>
                <c:pt idx="31">
                  <c:v>38026</c:v>
                </c:pt>
                <c:pt idx="32">
                  <c:v>33618</c:v>
                </c:pt>
                <c:pt idx="33">
                  <c:v>40053</c:v>
                </c:pt>
                <c:pt idx="34">
                  <c:v>44289</c:v>
                </c:pt>
                <c:pt idx="35">
                  <c:v>16073</c:v>
                </c:pt>
                <c:pt idx="36">
                  <c:v>1992</c:v>
                </c:pt>
                <c:pt idx="37">
                  <c:v>797</c:v>
                </c:pt>
                <c:pt idx="38">
                  <c:v>13874</c:v>
                </c:pt>
                <c:pt idx="39">
                  <c:v>26785</c:v>
                </c:pt>
                <c:pt idx="40">
                  <c:v>64590</c:v>
                </c:pt>
                <c:pt idx="41">
                  <c:v>75900</c:v>
                </c:pt>
                <c:pt idx="42">
                  <c:v>71423</c:v>
                </c:pt>
                <c:pt idx="43">
                  <c:v>73250</c:v>
                </c:pt>
                <c:pt idx="44">
                  <c:v>49290</c:v>
                </c:pt>
                <c:pt idx="45">
                  <c:v>55969</c:v>
                </c:pt>
                <c:pt idx="46">
                  <c:v>89836</c:v>
                </c:pt>
                <c:pt idx="47">
                  <c:v>89019</c:v>
                </c:pt>
                <c:pt idx="48">
                  <c:v>114913</c:v>
                </c:pt>
                <c:pt idx="49">
                  <c:v>185905</c:v>
                </c:pt>
                <c:pt idx="50">
                  <c:v>311789</c:v>
                </c:pt>
                <c:pt idx="51">
                  <c:v>300604</c:v>
                </c:pt>
                <c:pt idx="52">
                  <c:v>14537</c:v>
                </c:pt>
                <c:pt idx="53">
                  <c:v>32402</c:v>
                </c:pt>
                <c:pt idx="54">
                  <c:v>17029</c:v>
                </c:pt>
                <c:pt idx="55">
                  <c:v>8616</c:v>
                </c:pt>
                <c:pt idx="56">
                  <c:v>38880</c:v>
                </c:pt>
                <c:pt idx="57">
                  <c:v>71407</c:v>
                </c:pt>
                <c:pt idx="58">
                  <c:v>85905</c:v>
                </c:pt>
                <c:pt idx="59">
                  <c:v>140716</c:v>
                </c:pt>
                <c:pt idx="60">
                  <c:v>123889</c:v>
                </c:pt>
                <c:pt idx="61">
                  <c:v>114587</c:v>
                </c:pt>
                <c:pt idx="62">
                  <c:v>93820</c:v>
                </c:pt>
                <c:pt idx="63">
                  <c:v>76707</c:v>
                </c:pt>
                <c:pt idx="64">
                  <c:v>60663</c:v>
                </c:pt>
                <c:pt idx="65">
                  <c:v>58840</c:v>
                </c:pt>
                <c:pt idx="66">
                  <c:v>58504</c:v>
                </c:pt>
                <c:pt idx="67">
                  <c:v>71486</c:v>
                </c:pt>
                <c:pt idx="68">
                  <c:v>51419</c:v>
                </c:pt>
                <c:pt idx="69">
                  <c:v>52638</c:v>
                </c:pt>
                <c:pt idx="70">
                  <c:v>50074</c:v>
                </c:pt>
                <c:pt idx="71">
                  <c:v>48926</c:v>
                </c:pt>
                <c:pt idx="72">
                  <c:v>35142</c:v>
                </c:pt>
                <c:pt idx="73">
                  <c:v>517</c:v>
                </c:pt>
                <c:pt idx="74">
                  <c:v>1058</c:v>
                </c:pt>
                <c:pt idx="75">
                  <c:v>543</c:v>
                </c:pt>
                <c:pt idx="76">
                  <c:v>1666</c:v>
                </c:pt>
                <c:pt idx="77">
                  <c:v>439</c:v>
                </c:pt>
                <c:pt idx="78">
                  <c:v>1458</c:v>
                </c:pt>
                <c:pt idx="79">
                  <c:v>27586</c:v>
                </c:pt>
                <c:pt idx="80">
                  <c:v>52071</c:v>
                </c:pt>
                <c:pt idx="81">
                  <c:v>53579</c:v>
                </c:pt>
                <c:pt idx="82">
                  <c:v>51922</c:v>
                </c:pt>
                <c:pt idx="83">
                  <c:v>14391</c:v>
                </c:pt>
                <c:pt idx="84">
                  <c:v>11799</c:v>
                </c:pt>
                <c:pt idx="85">
                  <c:v>884</c:v>
                </c:pt>
                <c:pt idx="86">
                  <c:v>7938</c:v>
                </c:pt>
                <c:pt idx="87">
                  <c:v>1079</c:v>
                </c:pt>
                <c:pt idx="88">
                  <c:v>1138</c:v>
                </c:pt>
                <c:pt idx="89">
                  <c:v>1046</c:v>
                </c:pt>
                <c:pt idx="90">
                  <c:v>13474</c:v>
                </c:pt>
                <c:pt idx="91">
                  <c:v>29965</c:v>
                </c:pt>
                <c:pt idx="92">
                  <c:v>54504</c:v>
                </c:pt>
                <c:pt idx="93">
                  <c:v>82305</c:v>
                </c:pt>
                <c:pt idx="94">
                  <c:v>58368</c:v>
                </c:pt>
                <c:pt idx="95">
                  <c:v>35221</c:v>
                </c:pt>
                <c:pt idx="96">
                  <c:v>44696</c:v>
                </c:pt>
                <c:pt idx="97">
                  <c:v>103856</c:v>
                </c:pt>
                <c:pt idx="98">
                  <c:v>225472</c:v>
                </c:pt>
                <c:pt idx="99">
                  <c:v>260287</c:v>
                </c:pt>
                <c:pt idx="100">
                  <c:v>286691</c:v>
                </c:pt>
                <c:pt idx="101">
                  <c:v>334735</c:v>
                </c:pt>
                <c:pt idx="102">
                  <c:v>442184</c:v>
                </c:pt>
                <c:pt idx="103">
                  <c:v>616012</c:v>
                </c:pt>
                <c:pt idx="104">
                  <c:v>173231</c:v>
                </c:pt>
                <c:pt idx="105">
                  <c:v>152538</c:v>
                </c:pt>
                <c:pt idx="106">
                  <c:v>151156</c:v>
                </c:pt>
                <c:pt idx="107">
                  <c:v>1358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65427</c:v>
                </c:pt>
                <c:pt idx="1">
                  <c:v>273438</c:v>
                </c:pt>
                <c:pt idx="2">
                  <c:v>274004</c:v>
                </c:pt>
                <c:pt idx="3">
                  <c:v>267100</c:v>
                </c:pt>
                <c:pt idx="4">
                  <c:v>276596</c:v>
                </c:pt>
                <c:pt idx="5">
                  <c:v>272192</c:v>
                </c:pt>
                <c:pt idx="6">
                  <c:v>257831</c:v>
                </c:pt>
                <c:pt idx="7">
                  <c:v>272467</c:v>
                </c:pt>
                <c:pt idx="8">
                  <c:v>293227</c:v>
                </c:pt>
                <c:pt idx="9">
                  <c:v>270132</c:v>
                </c:pt>
                <c:pt idx="10">
                  <c:v>272293</c:v>
                </c:pt>
                <c:pt idx="11">
                  <c:v>272364</c:v>
                </c:pt>
                <c:pt idx="12">
                  <c:v>267863</c:v>
                </c:pt>
                <c:pt idx="13">
                  <c:v>293796</c:v>
                </c:pt>
                <c:pt idx="14">
                  <c:v>253400</c:v>
                </c:pt>
                <c:pt idx="15">
                  <c:v>261002</c:v>
                </c:pt>
                <c:pt idx="16">
                  <c:v>264945</c:v>
                </c:pt>
                <c:pt idx="17">
                  <c:v>298971</c:v>
                </c:pt>
                <c:pt idx="18">
                  <c:v>282697</c:v>
                </c:pt>
                <c:pt idx="19">
                  <c:v>278409</c:v>
                </c:pt>
                <c:pt idx="20">
                  <c:v>305789</c:v>
                </c:pt>
                <c:pt idx="21">
                  <c:v>309773</c:v>
                </c:pt>
                <c:pt idx="22">
                  <c:v>307436</c:v>
                </c:pt>
                <c:pt idx="23">
                  <c:v>298198</c:v>
                </c:pt>
                <c:pt idx="24">
                  <c:v>294888</c:v>
                </c:pt>
                <c:pt idx="25">
                  <c:v>300056</c:v>
                </c:pt>
                <c:pt idx="26">
                  <c:v>310862</c:v>
                </c:pt>
                <c:pt idx="27">
                  <c:v>282562</c:v>
                </c:pt>
                <c:pt idx="28">
                  <c:v>278306</c:v>
                </c:pt>
                <c:pt idx="29">
                  <c:v>285370</c:v>
                </c:pt>
                <c:pt idx="30">
                  <c:v>298373</c:v>
                </c:pt>
                <c:pt idx="31">
                  <c:v>274050</c:v>
                </c:pt>
                <c:pt idx="32">
                  <c:v>282379</c:v>
                </c:pt>
                <c:pt idx="33">
                  <c:v>268852</c:v>
                </c:pt>
                <c:pt idx="34">
                  <c:v>280069</c:v>
                </c:pt>
                <c:pt idx="35">
                  <c:v>298098</c:v>
                </c:pt>
                <c:pt idx="36">
                  <c:v>290032</c:v>
                </c:pt>
                <c:pt idx="37">
                  <c:v>281810</c:v>
                </c:pt>
                <c:pt idx="38">
                  <c:v>269880</c:v>
                </c:pt>
                <c:pt idx="39">
                  <c:v>270487</c:v>
                </c:pt>
                <c:pt idx="40">
                  <c:v>236103</c:v>
                </c:pt>
                <c:pt idx="41">
                  <c:v>235429</c:v>
                </c:pt>
                <c:pt idx="42">
                  <c:v>237621</c:v>
                </c:pt>
                <c:pt idx="43">
                  <c:v>245956</c:v>
                </c:pt>
                <c:pt idx="44">
                  <c:v>271650</c:v>
                </c:pt>
                <c:pt idx="45">
                  <c:v>266549</c:v>
                </c:pt>
                <c:pt idx="46">
                  <c:v>249893</c:v>
                </c:pt>
                <c:pt idx="47">
                  <c:v>261179</c:v>
                </c:pt>
                <c:pt idx="48">
                  <c:v>274113</c:v>
                </c:pt>
                <c:pt idx="49">
                  <c:v>249061</c:v>
                </c:pt>
                <c:pt idx="50">
                  <c:v>258407</c:v>
                </c:pt>
                <c:pt idx="51">
                  <c:v>177998</c:v>
                </c:pt>
                <c:pt idx="52">
                  <c:v>196754</c:v>
                </c:pt>
                <c:pt idx="53">
                  <c:v>189316</c:v>
                </c:pt>
                <c:pt idx="54">
                  <c:v>229287</c:v>
                </c:pt>
                <c:pt idx="55">
                  <c:v>256670</c:v>
                </c:pt>
                <c:pt idx="56">
                  <c:v>239199</c:v>
                </c:pt>
                <c:pt idx="57">
                  <c:v>216428</c:v>
                </c:pt>
                <c:pt idx="58">
                  <c:v>188390</c:v>
                </c:pt>
                <c:pt idx="59">
                  <c:v>184857</c:v>
                </c:pt>
                <c:pt idx="60">
                  <c:v>181616</c:v>
                </c:pt>
                <c:pt idx="61">
                  <c:v>179526</c:v>
                </c:pt>
                <c:pt idx="62">
                  <c:v>186033</c:v>
                </c:pt>
                <c:pt idx="63">
                  <c:v>212554</c:v>
                </c:pt>
                <c:pt idx="64">
                  <c:v>215373</c:v>
                </c:pt>
                <c:pt idx="65">
                  <c:v>218920</c:v>
                </c:pt>
                <c:pt idx="66">
                  <c:v>206896</c:v>
                </c:pt>
                <c:pt idx="67">
                  <c:v>205692</c:v>
                </c:pt>
                <c:pt idx="68">
                  <c:v>204720</c:v>
                </c:pt>
                <c:pt idx="69">
                  <c:v>215373</c:v>
                </c:pt>
                <c:pt idx="70">
                  <c:v>210526</c:v>
                </c:pt>
                <c:pt idx="71">
                  <c:v>203692</c:v>
                </c:pt>
                <c:pt idx="72">
                  <c:v>243060</c:v>
                </c:pt>
                <c:pt idx="73">
                  <c:v>258491</c:v>
                </c:pt>
                <c:pt idx="74">
                  <c:v>276014</c:v>
                </c:pt>
                <c:pt idx="75">
                  <c:v>264105</c:v>
                </c:pt>
                <c:pt idx="76">
                  <c:v>262851</c:v>
                </c:pt>
                <c:pt idx="77">
                  <c:v>262631</c:v>
                </c:pt>
                <c:pt idx="78">
                  <c:v>285612</c:v>
                </c:pt>
                <c:pt idx="79">
                  <c:v>238450</c:v>
                </c:pt>
                <c:pt idx="80">
                  <c:v>225678</c:v>
                </c:pt>
                <c:pt idx="81">
                  <c:v>213900</c:v>
                </c:pt>
                <c:pt idx="82">
                  <c:v>222822</c:v>
                </c:pt>
                <c:pt idx="83">
                  <c:v>252397</c:v>
                </c:pt>
                <c:pt idx="84">
                  <c:v>250937</c:v>
                </c:pt>
                <c:pt idx="85">
                  <c:v>257576</c:v>
                </c:pt>
                <c:pt idx="86">
                  <c:v>247333</c:v>
                </c:pt>
                <c:pt idx="87">
                  <c:v>258329</c:v>
                </c:pt>
                <c:pt idx="88">
                  <c:v>240812</c:v>
                </c:pt>
                <c:pt idx="89">
                  <c:v>244295</c:v>
                </c:pt>
                <c:pt idx="90">
                  <c:v>223708</c:v>
                </c:pt>
                <c:pt idx="91">
                  <c:v>244443</c:v>
                </c:pt>
                <c:pt idx="92">
                  <c:v>204106</c:v>
                </c:pt>
                <c:pt idx="93">
                  <c:v>194732</c:v>
                </c:pt>
                <c:pt idx="94">
                  <c:v>213407</c:v>
                </c:pt>
                <c:pt idx="95">
                  <c:v>236778</c:v>
                </c:pt>
                <c:pt idx="96">
                  <c:v>249752</c:v>
                </c:pt>
                <c:pt idx="97">
                  <c:v>189338</c:v>
                </c:pt>
                <c:pt idx="98">
                  <c:v>73823</c:v>
                </c:pt>
                <c:pt idx="99">
                  <c:v>71145</c:v>
                </c:pt>
                <c:pt idx="100">
                  <c:v>78911</c:v>
                </c:pt>
                <c:pt idx="101">
                  <c:v>74783</c:v>
                </c:pt>
                <c:pt idx="102">
                  <c:v>82178</c:v>
                </c:pt>
                <c:pt idx="103">
                  <c:v>89829</c:v>
                </c:pt>
                <c:pt idx="104">
                  <c:v>69171</c:v>
                </c:pt>
                <c:pt idx="105">
                  <c:v>66863</c:v>
                </c:pt>
                <c:pt idx="106">
                  <c:v>75204</c:v>
                </c:pt>
                <c:pt idx="107">
                  <c:v>706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347686</c:v>
                </c:pt>
                <c:pt idx="1">
                  <c:v>328961</c:v>
                </c:pt>
                <c:pt idx="2">
                  <c:v>336070</c:v>
                </c:pt>
                <c:pt idx="3">
                  <c:v>305905</c:v>
                </c:pt>
                <c:pt idx="4">
                  <c:v>301756</c:v>
                </c:pt>
                <c:pt idx="5">
                  <c:v>309039</c:v>
                </c:pt>
                <c:pt idx="6">
                  <c:v>301125</c:v>
                </c:pt>
                <c:pt idx="7">
                  <c:v>333853</c:v>
                </c:pt>
                <c:pt idx="8">
                  <c:v>329096</c:v>
                </c:pt>
                <c:pt idx="9">
                  <c:v>306028</c:v>
                </c:pt>
                <c:pt idx="10">
                  <c:v>324580</c:v>
                </c:pt>
                <c:pt idx="11">
                  <c:v>312966</c:v>
                </c:pt>
                <c:pt idx="12">
                  <c:v>297312</c:v>
                </c:pt>
                <c:pt idx="13">
                  <c:v>324298</c:v>
                </c:pt>
                <c:pt idx="14">
                  <c:v>287662</c:v>
                </c:pt>
                <c:pt idx="15">
                  <c:v>321737</c:v>
                </c:pt>
                <c:pt idx="16">
                  <c:v>294148</c:v>
                </c:pt>
                <c:pt idx="17">
                  <c:v>305651</c:v>
                </c:pt>
                <c:pt idx="18">
                  <c:v>285754</c:v>
                </c:pt>
                <c:pt idx="19">
                  <c:v>280971</c:v>
                </c:pt>
                <c:pt idx="20">
                  <c:v>309176</c:v>
                </c:pt>
                <c:pt idx="21">
                  <c:v>311062</c:v>
                </c:pt>
                <c:pt idx="22">
                  <c:v>307892</c:v>
                </c:pt>
                <c:pt idx="23">
                  <c:v>299017</c:v>
                </c:pt>
                <c:pt idx="24">
                  <c:v>295743</c:v>
                </c:pt>
                <c:pt idx="25">
                  <c:v>300834</c:v>
                </c:pt>
                <c:pt idx="26">
                  <c:v>311399</c:v>
                </c:pt>
                <c:pt idx="27">
                  <c:v>306461</c:v>
                </c:pt>
                <c:pt idx="28">
                  <c:v>336259</c:v>
                </c:pt>
                <c:pt idx="29">
                  <c:v>317906</c:v>
                </c:pt>
                <c:pt idx="30">
                  <c:v>334206</c:v>
                </c:pt>
                <c:pt idx="31">
                  <c:v>312076</c:v>
                </c:pt>
                <c:pt idx="32">
                  <c:v>315997</c:v>
                </c:pt>
                <c:pt idx="33">
                  <c:v>308905</c:v>
                </c:pt>
                <c:pt idx="34">
                  <c:v>324358</c:v>
                </c:pt>
                <c:pt idx="35">
                  <c:v>314171</c:v>
                </c:pt>
                <c:pt idx="36">
                  <c:v>292024</c:v>
                </c:pt>
                <c:pt idx="37">
                  <c:v>282607</c:v>
                </c:pt>
                <c:pt idx="38">
                  <c:v>283754</c:v>
                </c:pt>
                <c:pt idx="39">
                  <c:v>297272</c:v>
                </c:pt>
                <c:pt idx="40">
                  <c:v>300693</c:v>
                </c:pt>
                <c:pt idx="41">
                  <c:v>311329</c:v>
                </c:pt>
                <c:pt idx="42">
                  <c:v>309044</c:v>
                </c:pt>
                <c:pt idx="43">
                  <c:v>319206</c:v>
                </c:pt>
                <c:pt idx="44">
                  <c:v>320940</c:v>
                </c:pt>
                <c:pt idx="45">
                  <c:v>322518</c:v>
                </c:pt>
                <c:pt idx="46">
                  <c:v>339729</c:v>
                </c:pt>
                <c:pt idx="47">
                  <c:v>350198</c:v>
                </c:pt>
                <c:pt idx="48">
                  <c:v>389026</c:v>
                </c:pt>
                <c:pt idx="49">
                  <c:v>434966</c:v>
                </c:pt>
                <c:pt idx="50">
                  <c:v>570196</c:v>
                </c:pt>
                <c:pt idx="51">
                  <c:v>478602</c:v>
                </c:pt>
                <c:pt idx="52">
                  <c:v>211291</c:v>
                </c:pt>
                <c:pt idx="53">
                  <c:v>221718</c:v>
                </c:pt>
                <c:pt idx="54">
                  <c:v>246316</c:v>
                </c:pt>
                <c:pt idx="55">
                  <c:v>265286</c:v>
                </c:pt>
                <c:pt idx="56">
                  <c:v>278079</c:v>
                </c:pt>
                <c:pt idx="57">
                  <c:v>287835</c:v>
                </c:pt>
                <c:pt idx="58">
                  <c:v>274295</c:v>
                </c:pt>
                <c:pt idx="59">
                  <c:v>325573</c:v>
                </c:pt>
                <c:pt idx="60">
                  <c:v>305505</c:v>
                </c:pt>
                <c:pt idx="61">
                  <c:v>294113</c:v>
                </c:pt>
                <c:pt idx="62">
                  <c:v>279853</c:v>
                </c:pt>
                <c:pt idx="63">
                  <c:v>289261</c:v>
                </c:pt>
                <c:pt idx="64">
                  <c:v>276036</c:v>
                </c:pt>
                <c:pt idx="65">
                  <c:v>277760</c:v>
                </c:pt>
                <c:pt idx="66">
                  <c:v>265400</c:v>
                </c:pt>
                <c:pt idx="67">
                  <c:v>277178</c:v>
                </c:pt>
                <c:pt idx="68">
                  <c:v>256139</c:v>
                </c:pt>
                <c:pt idx="69">
                  <c:v>268011</c:v>
                </c:pt>
                <c:pt idx="70">
                  <c:v>260600</c:v>
                </c:pt>
                <c:pt idx="71">
                  <c:v>252618</c:v>
                </c:pt>
                <c:pt idx="72">
                  <c:v>278202</c:v>
                </c:pt>
                <c:pt idx="73">
                  <c:v>259008</c:v>
                </c:pt>
                <c:pt idx="74">
                  <c:v>277072</c:v>
                </c:pt>
                <c:pt idx="75">
                  <c:v>264648</c:v>
                </c:pt>
                <c:pt idx="76">
                  <c:v>264517</c:v>
                </c:pt>
                <c:pt idx="77">
                  <c:v>263070</c:v>
                </c:pt>
                <c:pt idx="78">
                  <c:v>287070</c:v>
                </c:pt>
                <c:pt idx="79">
                  <c:v>266036</c:v>
                </c:pt>
                <c:pt idx="80">
                  <c:v>277749</c:v>
                </c:pt>
                <c:pt idx="81">
                  <c:v>267479</c:v>
                </c:pt>
                <c:pt idx="82">
                  <c:v>274744</c:v>
                </c:pt>
                <c:pt idx="83">
                  <c:v>266788</c:v>
                </c:pt>
                <c:pt idx="84">
                  <c:v>262736</c:v>
                </c:pt>
                <c:pt idx="85">
                  <c:v>258460</c:v>
                </c:pt>
                <c:pt idx="86">
                  <c:v>255271</c:v>
                </c:pt>
                <c:pt idx="87">
                  <c:v>259408</c:v>
                </c:pt>
                <c:pt idx="88">
                  <c:v>241950</c:v>
                </c:pt>
                <c:pt idx="89">
                  <c:v>245341</c:v>
                </c:pt>
                <c:pt idx="90">
                  <c:v>237182</c:v>
                </c:pt>
                <c:pt idx="91">
                  <c:v>274408</c:v>
                </c:pt>
                <c:pt idx="92">
                  <c:v>258610</c:v>
                </c:pt>
                <c:pt idx="93">
                  <c:v>277037</c:v>
                </c:pt>
                <c:pt idx="94">
                  <c:v>271775</c:v>
                </c:pt>
                <c:pt idx="95">
                  <c:v>271999</c:v>
                </c:pt>
                <c:pt idx="96">
                  <c:v>294448</c:v>
                </c:pt>
                <c:pt idx="97">
                  <c:v>293194</c:v>
                </c:pt>
                <c:pt idx="98">
                  <c:v>299295</c:v>
                </c:pt>
                <c:pt idx="99">
                  <c:v>331432</c:v>
                </c:pt>
                <c:pt idx="100">
                  <c:v>365602</c:v>
                </c:pt>
                <c:pt idx="101">
                  <c:v>409518</c:v>
                </c:pt>
                <c:pt idx="102">
                  <c:v>524362</c:v>
                </c:pt>
                <c:pt idx="103">
                  <c:v>705841</c:v>
                </c:pt>
                <c:pt idx="104">
                  <c:v>242402</c:v>
                </c:pt>
                <c:pt idx="105">
                  <c:v>219401</c:v>
                </c:pt>
                <c:pt idx="106">
                  <c:v>226360</c:v>
                </c:pt>
                <c:pt idx="107">
                  <c:v>20648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83987</c:v>
                </c:pt>
                <c:pt idx="1">
                  <c:v>285416</c:v>
                </c:pt>
                <c:pt idx="2">
                  <c:v>288066</c:v>
                </c:pt>
                <c:pt idx="3">
                  <c:v>288937</c:v>
                </c:pt>
                <c:pt idx="4">
                  <c:v>291778</c:v>
                </c:pt>
                <c:pt idx="5">
                  <c:v>296278</c:v>
                </c:pt>
                <c:pt idx="6">
                  <c:v>302780</c:v>
                </c:pt>
                <c:pt idx="7">
                  <c:v>314608</c:v>
                </c:pt>
                <c:pt idx="8">
                  <c:v>317624</c:v>
                </c:pt>
                <c:pt idx="9">
                  <c:v>317228</c:v>
                </c:pt>
                <c:pt idx="10">
                  <c:v>313107</c:v>
                </c:pt>
                <c:pt idx="11">
                  <c:v>311041</c:v>
                </c:pt>
                <c:pt idx="12">
                  <c:v>309480</c:v>
                </c:pt>
                <c:pt idx="13">
                  <c:v>306171</c:v>
                </c:pt>
                <c:pt idx="14">
                  <c:v>306972</c:v>
                </c:pt>
                <c:pt idx="15">
                  <c:v>302692</c:v>
                </c:pt>
                <c:pt idx="16">
                  <c:v>298349</c:v>
                </c:pt>
                <c:pt idx="17">
                  <c:v>299781</c:v>
                </c:pt>
                <c:pt idx="18">
                  <c:v>298794</c:v>
                </c:pt>
                <c:pt idx="19">
                  <c:v>301311</c:v>
                </c:pt>
                <c:pt idx="20">
                  <c:v>299132</c:v>
                </c:pt>
                <c:pt idx="21">
                  <c:v>299413</c:v>
                </c:pt>
                <c:pt idx="22">
                  <c:v>298849</c:v>
                </c:pt>
                <c:pt idx="23">
                  <c:v>302048</c:v>
                </c:pt>
                <c:pt idx="24">
                  <c:v>305103</c:v>
                </c:pt>
                <c:pt idx="25">
                  <c:v>308163</c:v>
                </c:pt>
                <c:pt idx="26">
                  <c:v>308629</c:v>
                </c:pt>
                <c:pt idx="27">
                  <c:v>310997</c:v>
                </c:pt>
                <c:pt idx="28">
                  <c:v>313117</c:v>
                </c:pt>
                <c:pt idx="29">
                  <c:v>315311</c:v>
                </c:pt>
                <c:pt idx="30">
                  <c:v>316564</c:v>
                </c:pt>
                <c:pt idx="31">
                  <c:v>317675</c:v>
                </c:pt>
                <c:pt idx="32">
                  <c:v>318758</c:v>
                </c:pt>
                <c:pt idx="33">
                  <c:v>312763</c:v>
                </c:pt>
                <c:pt idx="34">
                  <c:v>309239</c:v>
                </c:pt>
                <c:pt idx="35">
                  <c:v>303425</c:v>
                </c:pt>
                <c:pt idx="36">
                  <c:v>301784</c:v>
                </c:pt>
                <c:pt idx="37">
                  <c:v>297796</c:v>
                </c:pt>
                <c:pt idx="38">
                  <c:v>294273</c:v>
                </c:pt>
                <c:pt idx="39">
                  <c:v>288448</c:v>
                </c:pt>
                <c:pt idx="40">
                  <c:v>302173</c:v>
                </c:pt>
                <c:pt idx="41">
                  <c:v>312698</c:v>
                </c:pt>
                <c:pt idx="42">
                  <c:v>312042</c:v>
                </c:pt>
                <c:pt idx="43">
                  <c:v>313096</c:v>
                </c:pt>
                <c:pt idx="44">
                  <c:v>310897</c:v>
                </c:pt>
                <c:pt idx="45">
                  <c:v>310086</c:v>
                </c:pt>
                <c:pt idx="46">
                  <c:v>311502</c:v>
                </c:pt>
                <c:pt idx="47">
                  <c:v>316835</c:v>
                </c:pt>
                <c:pt idx="48">
                  <c:v>307295</c:v>
                </c:pt>
                <c:pt idx="49">
                  <c:v>296680</c:v>
                </c:pt>
                <c:pt idx="50">
                  <c:v>287825</c:v>
                </c:pt>
                <c:pt idx="51">
                  <c:v>331933</c:v>
                </c:pt>
                <c:pt idx="52">
                  <c:v>304715</c:v>
                </c:pt>
                <c:pt idx="53">
                  <c:v>279304</c:v>
                </c:pt>
                <c:pt idx="54">
                  <c:v>255124</c:v>
                </c:pt>
                <c:pt idx="55">
                  <c:v>240600</c:v>
                </c:pt>
                <c:pt idx="56">
                  <c:v>253491</c:v>
                </c:pt>
                <c:pt idx="57">
                  <c:v>276780</c:v>
                </c:pt>
                <c:pt idx="58">
                  <c:v>282331</c:v>
                </c:pt>
                <c:pt idx="59">
                  <c:v>286559</c:v>
                </c:pt>
                <c:pt idx="60">
                  <c:v>293402</c:v>
                </c:pt>
                <c:pt idx="61">
                  <c:v>293447</c:v>
                </c:pt>
                <c:pt idx="62">
                  <c:v>292281</c:v>
                </c:pt>
                <c:pt idx="63">
                  <c:v>289672</c:v>
                </c:pt>
                <c:pt idx="64">
                  <c:v>285405</c:v>
                </c:pt>
                <c:pt idx="65">
                  <c:v>281615</c:v>
                </c:pt>
                <c:pt idx="66">
                  <c:v>279560</c:v>
                </c:pt>
                <c:pt idx="67">
                  <c:v>273289</c:v>
                </c:pt>
                <c:pt idx="68">
                  <c:v>265449</c:v>
                </c:pt>
                <c:pt idx="69">
                  <c:v>266019</c:v>
                </c:pt>
                <c:pt idx="70">
                  <c:v>263889</c:v>
                </c:pt>
                <c:pt idx="71">
                  <c:v>264354</c:v>
                </c:pt>
                <c:pt idx="72">
                  <c:v>265067</c:v>
                </c:pt>
                <c:pt idx="73">
                  <c:v>265453</c:v>
                </c:pt>
                <c:pt idx="74">
                  <c:v>264807</c:v>
                </c:pt>
                <c:pt idx="75">
                  <c:v>268286</c:v>
                </c:pt>
                <c:pt idx="76">
                  <c:v>269736</c:v>
                </c:pt>
                <c:pt idx="77">
                  <c:v>269926</c:v>
                </c:pt>
                <c:pt idx="78">
                  <c:v>270943</c:v>
                </c:pt>
                <c:pt idx="79">
                  <c:v>270215</c:v>
                </c:pt>
                <c:pt idx="80">
                  <c:v>270542</c:v>
                </c:pt>
                <c:pt idx="81">
                  <c:v>269831</c:v>
                </c:pt>
                <c:pt idx="82">
                  <c:v>270520</c:v>
                </c:pt>
                <c:pt idx="83">
                  <c:v>265918</c:v>
                </c:pt>
                <c:pt idx="84">
                  <c:v>265135</c:v>
                </c:pt>
                <c:pt idx="85">
                  <c:v>261062</c:v>
                </c:pt>
                <c:pt idx="86">
                  <c:v>258202</c:v>
                </c:pt>
                <c:pt idx="87">
                  <c:v>253692</c:v>
                </c:pt>
                <c:pt idx="88">
                  <c:v>254527</c:v>
                </c:pt>
                <c:pt idx="89">
                  <c:v>252951</c:v>
                </c:pt>
                <c:pt idx="90">
                  <c:v>252179</c:v>
                </c:pt>
                <c:pt idx="91">
                  <c:v>251033</c:v>
                </c:pt>
                <c:pt idx="92">
                  <c:v>253250</c:v>
                </c:pt>
                <c:pt idx="93">
                  <c:v>271128</c:v>
                </c:pt>
                <c:pt idx="94">
                  <c:v>277193</c:v>
                </c:pt>
                <c:pt idx="95">
                  <c:v>283822</c:v>
                </c:pt>
                <c:pt idx="96">
                  <c:v>288665</c:v>
                </c:pt>
                <c:pt idx="97">
                  <c:v>296667</c:v>
                </c:pt>
                <c:pt idx="98">
                  <c:v>305689</c:v>
                </c:pt>
                <c:pt idx="99">
                  <c:v>306059</c:v>
                </c:pt>
                <c:pt idx="100">
                  <c:v>313852</c:v>
                </c:pt>
                <c:pt idx="101">
                  <c:v>313201</c:v>
                </c:pt>
                <c:pt idx="102">
                  <c:v>312999</c:v>
                </c:pt>
                <c:pt idx="103">
                  <c:v>310187</c:v>
                </c:pt>
                <c:pt idx="104">
                  <c:v>267096</c:v>
                </c:pt>
                <c:pt idx="105">
                  <c:v>241575</c:v>
                </c:pt>
                <c:pt idx="106">
                  <c:v>246733</c:v>
                </c:pt>
                <c:pt idx="107">
                  <c:v>22942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6</c:v>
                </c:pt>
                <c:pt idx="1">
                  <c:v>0.3</c:v>
                </c:pt>
                <c:pt idx="2">
                  <c:v>0.34</c:v>
                </c:pt>
                <c:pt idx="3">
                  <c:v>0.25</c:v>
                </c:pt>
                <c:pt idx="4">
                  <c:v>0.16</c:v>
                </c:pt>
                <c:pt idx="5">
                  <c:v>0.2</c:v>
                </c:pt>
                <c:pt idx="6">
                  <c:v>0.2</c:v>
                </c:pt>
                <c:pt idx="7">
                  <c:v>0.23</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2</c:v>
                </c:pt>
                <c:pt idx="21">
                  <c:v>0.01</c:v>
                </c:pt>
                <c:pt idx="22">
                  <c:v>0</c:v>
                </c:pt>
                <c:pt idx="23">
                  <c:v>0</c:v>
                </c:pt>
                <c:pt idx="24">
                  <c:v>0</c:v>
                </c:pt>
                <c:pt idx="25">
                  <c:v>0</c:v>
                </c:pt>
                <c:pt idx="26">
                  <c:v>0</c:v>
                </c:pt>
                <c:pt idx="27">
                  <c:v>0.08</c:v>
                </c:pt>
                <c:pt idx="28">
                  <c:v>0.18</c:v>
                </c:pt>
                <c:pt idx="29">
                  <c:v>0.15</c:v>
                </c:pt>
                <c:pt idx="30">
                  <c:v>0.14000000000000001</c:v>
                </c:pt>
                <c:pt idx="31">
                  <c:v>0.13</c:v>
                </c:pt>
                <c:pt idx="32">
                  <c:v>0.13</c:v>
                </c:pt>
                <c:pt idx="33">
                  <c:v>0.14000000000000001</c:v>
                </c:pt>
                <c:pt idx="34">
                  <c:v>0.15</c:v>
                </c:pt>
                <c:pt idx="35">
                  <c:v>0.06</c:v>
                </c:pt>
                <c:pt idx="36">
                  <c:v>0.01</c:v>
                </c:pt>
                <c:pt idx="37">
                  <c:v>0</c:v>
                </c:pt>
                <c:pt idx="38">
                  <c:v>0.06</c:v>
                </c:pt>
                <c:pt idx="39">
                  <c:v>0.11</c:v>
                </c:pt>
                <c:pt idx="40">
                  <c:v>0.24</c:v>
                </c:pt>
                <c:pt idx="41">
                  <c:v>0.27</c:v>
                </c:pt>
                <c:pt idx="42">
                  <c:v>0.26</c:v>
                </c:pt>
                <c:pt idx="43">
                  <c:v>0.24</c:v>
                </c:pt>
                <c:pt idx="44">
                  <c:v>0.15</c:v>
                </c:pt>
                <c:pt idx="45">
                  <c:v>0.17</c:v>
                </c:pt>
                <c:pt idx="46">
                  <c:v>0.26</c:v>
                </c:pt>
                <c:pt idx="47">
                  <c:v>0.25</c:v>
                </c:pt>
                <c:pt idx="48">
                  <c:v>0.28999999999999998</c:v>
                </c:pt>
                <c:pt idx="49">
                  <c:v>0.45</c:v>
                </c:pt>
                <c:pt idx="50">
                  <c:v>0.55000000000000004</c:v>
                </c:pt>
                <c:pt idx="51">
                  <c:v>0.71</c:v>
                </c:pt>
                <c:pt idx="52">
                  <c:v>0.12</c:v>
                </c:pt>
                <c:pt idx="53">
                  <c:v>0.21</c:v>
                </c:pt>
                <c:pt idx="54">
                  <c:v>0.13</c:v>
                </c:pt>
                <c:pt idx="55">
                  <c:v>0.06</c:v>
                </c:pt>
                <c:pt idx="56">
                  <c:v>0.17</c:v>
                </c:pt>
                <c:pt idx="57">
                  <c:v>0.28999999999999998</c:v>
                </c:pt>
                <c:pt idx="58">
                  <c:v>0.35</c:v>
                </c:pt>
                <c:pt idx="59">
                  <c:v>0.48</c:v>
                </c:pt>
                <c:pt idx="60">
                  <c:v>0.45</c:v>
                </c:pt>
                <c:pt idx="61">
                  <c:v>0.43</c:v>
                </c:pt>
                <c:pt idx="62">
                  <c:v>0.36</c:v>
                </c:pt>
                <c:pt idx="63">
                  <c:v>0.28000000000000003</c:v>
                </c:pt>
                <c:pt idx="64">
                  <c:v>0.23</c:v>
                </c:pt>
                <c:pt idx="65">
                  <c:v>0.23</c:v>
                </c:pt>
                <c:pt idx="66">
                  <c:v>0.23</c:v>
                </c:pt>
                <c:pt idx="67">
                  <c:v>0.26</c:v>
                </c:pt>
                <c:pt idx="68">
                  <c:v>0.2</c:v>
                </c:pt>
                <c:pt idx="69">
                  <c:v>0.2</c:v>
                </c:pt>
                <c:pt idx="70">
                  <c:v>0.2</c:v>
                </c:pt>
                <c:pt idx="71">
                  <c:v>0.2</c:v>
                </c:pt>
                <c:pt idx="72">
                  <c:v>0.13</c:v>
                </c:pt>
                <c:pt idx="73">
                  <c:v>0</c:v>
                </c:pt>
                <c:pt idx="74">
                  <c:v>0</c:v>
                </c:pt>
                <c:pt idx="75">
                  <c:v>0</c:v>
                </c:pt>
                <c:pt idx="76">
                  <c:v>0.01</c:v>
                </c:pt>
                <c:pt idx="77">
                  <c:v>0</c:v>
                </c:pt>
                <c:pt idx="78">
                  <c:v>0.01</c:v>
                </c:pt>
                <c:pt idx="79">
                  <c:v>0.12</c:v>
                </c:pt>
                <c:pt idx="80">
                  <c:v>0.21</c:v>
                </c:pt>
                <c:pt idx="81">
                  <c:v>0.22</c:v>
                </c:pt>
                <c:pt idx="82">
                  <c:v>0.2</c:v>
                </c:pt>
                <c:pt idx="83">
                  <c:v>0.06</c:v>
                </c:pt>
                <c:pt idx="84">
                  <c:v>0.05</c:v>
                </c:pt>
                <c:pt idx="85">
                  <c:v>0</c:v>
                </c:pt>
                <c:pt idx="86">
                  <c:v>0.03</c:v>
                </c:pt>
                <c:pt idx="87">
                  <c:v>0</c:v>
                </c:pt>
                <c:pt idx="88">
                  <c:v>0.01</c:v>
                </c:pt>
                <c:pt idx="89">
                  <c:v>0</c:v>
                </c:pt>
                <c:pt idx="90">
                  <c:v>0.06</c:v>
                </c:pt>
                <c:pt idx="91">
                  <c:v>0.12</c:v>
                </c:pt>
                <c:pt idx="92">
                  <c:v>0.24</c:v>
                </c:pt>
                <c:pt idx="93">
                  <c:v>0.31</c:v>
                </c:pt>
                <c:pt idx="94">
                  <c:v>0.2</c:v>
                </c:pt>
                <c:pt idx="95">
                  <c:v>0.11</c:v>
                </c:pt>
                <c:pt idx="96">
                  <c:v>0.12</c:v>
                </c:pt>
                <c:pt idx="97">
                  <c:v>0.35</c:v>
                </c:pt>
                <c:pt idx="98">
                  <c:v>0.8</c:v>
                </c:pt>
                <c:pt idx="99">
                  <c:v>0.82</c:v>
                </c:pt>
                <c:pt idx="100">
                  <c:v>0.82</c:v>
                </c:pt>
                <c:pt idx="101">
                  <c:v>0.85</c:v>
                </c:pt>
                <c:pt idx="102">
                  <c:v>0.87</c:v>
                </c:pt>
                <c:pt idx="103">
                  <c:v>0.91</c:v>
                </c:pt>
                <c:pt idx="104">
                  <c:v>0.8</c:v>
                </c:pt>
                <c:pt idx="105">
                  <c:v>0.78</c:v>
                </c:pt>
                <c:pt idx="106">
                  <c:v>0.75</c:v>
                </c:pt>
                <c:pt idx="107">
                  <c:v>0.7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c:v>
                </c:pt>
                <c:pt idx="1">
                  <c:v>289</c:v>
                </c:pt>
                <c:pt idx="2">
                  <c:v>390</c:v>
                </c:pt>
                <c:pt idx="3">
                  <c:v>361</c:v>
                </c:pt>
                <c:pt idx="4">
                  <c:v>346</c:v>
                </c:pt>
                <c:pt idx="5">
                  <c:v>338</c:v>
                </c:pt>
                <c:pt idx="6">
                  <c:v>341</c:v>
                </c:pt>
                <c:pt idx="7">
                  <c:v>223</c:v>
                </c:pt>
                <c:pt idx="8">
                  <c:v>599</c:v>
                </c:pt>
                <c:pt idx="9">
                  <c:v>436</c:v>
                </c:pt>
                <c:pt idx="10">
                  <c:v>349</c:v>
                </c:pt>
                <c:pt idx="11">
                  <c:v>504</c:v>
                </c:pt>
                <c:pt idx="12">
                  <c:v>314</c:v>
                </c:pt>
                <c:pt idx="13">
                  <c:v>194</c:v>
                </c:pt>
                <c:pt idx="14">
                  <c:v>14684</c:v>
                </c:pt>
                <c:pt idx="15">
                  <c:v>13661</c:v>
                </c:pt>
                <c:pt idx="16">
                  <c:v>6327</c:v>
                </c:pt>
                <c:pt idx="17">
                  <c:v>5020</c:v>
                </c:pt>
                <c:pt idx="18">
                  <c:v>3852</c:v>
                </c:pt>
                <c:pt idx="19">
                  <c:v>2665</c:v>
                </c:pt>
                <c:pt idx="20">
                  <c:v>2271</c:v>
                </c:pt>
                <c:pt idx="21">
                  <c:v>1480</c:v>
                </c:pt>
                <c:pt idx="22">
                  <c:v>1853</c:v>
                </c:pt>
                <c:pt idx="23">
                  <c:v>889</c:v>
                </c:pt>
                <c:pt idx="24">
                  <c:v>1166</c:v>
                </c:pt>
                <c:pt idx="25">
                  <c:v>885</c:v>
                </c:pt>
                <c:pt idx="26">
                  <c:v>1300</c:v>
                </c:pt>
                <c:pt idx="27">
                  <c:v>756</c:v>
                </c:pt>
                <c:pt idx="28">
                  <c:v>996</c:v>
                </c:pt>
                <c:pt idx="29">
                  <c:v>1199</c:v>
                </c:pt>
                <c:pt idx="30">
                  <c:v>1116</c:v>
                </c:pt>
                <c:pt idx="31">
                  <c:v>810</c:v>
                </c:pt>
                <c:pt idx="32">
                  <c:v>1144</c:v>
                </c:pt>
                <c:pt idx="33">
                  <c:v>803</c:v>
                </c:pt>
                <c:pt idx="34">
                  <c:v>952</c:v>
                </c:pt>
                <c:pt idx="35">
                  <c:v>650</c:v>
                </c:pt>
                <c:pt idx="36">
                  <c:v>1001</c:v>
                </c:pt>
                <c:pt idx="37">
                  <c:v>835</c:v>
                </c:pt>
                <c:pt idx="38">
                  <c:v>1540</c:v>
                </c:pt>
                <c:pt idx="39">
                  <c:v>2257</c:v>
                </c:pt>
                <c:pt idx="40">
                  <c:v>1749</c:v>
                </c:pt>
                <c:pt idx="41">
                  <c:v>2132</c:v>
                </c:pt>
                <c:pt idx="42">
                  <c:v>2466</c:v>
                </c:pt>
                <c:pt idx="43">
                  <c:v>2394</c:v>
                </c:pt>
                <c:pt idx="44">
                  <c:v>2310</c:v>
                </c:pt>
                <c:pt idx="45">
                  <c:v>2677</c:v>
                </c:pt>
                <c:pt idx="46">
                  <c:v>2687</c:v>
                </c:pt>
                <c:pt idx="47">
                  <c:v>2611</c:v>
                </c:pt>
                <c:pt idx="48">
                  <c:v>3008</c:v>
                </c:pt>
                <c:pt idx="49">
                  <c:v>2530</c:v>
                </c:pt>
                <c:pt idx="50">
                  <c:v>2993</c:v>
                </c:pt>
                <c:pt idx="51">
                  <c:v>2271</c:v>
                </c:pt>
                <c:pt idx="52">
                  <c:v>2349</c:v>
                </c:pt>
                <c:pt idx="53">
                  <c:v>2851</c:v>
                </c:pt>
                <c:pt idx="54">
                  <c:v>2408</c:v>
                </c:pt>
                <c:pt idx="55">
                  <c:v>2376</c:v>
                </c:pt>
                <c:pt idx="56">
                  <c:v>2397</c:v>
                </c:pt>
                <c:pt idx="57">
                  <c:v>2814</c:v>
                </c:pt>
                <c:pt idx="58">
                  <c:v>2078</c:v>
                </c:pt>
                <c:pt idx="59">
                  <c:v>3074</c:v>
                </c:pt>
                <c:pt idx="60">
                  <c:v>2472</c:v>
                </c:pt>
                <c:pt idx="61">
                  <c:v>2591</c:v>
                </c:pt>
                <c:pt idx="62">
                  <c:v>2835</c:v>
                </c:pt>
                <c:pt idx="63">
                  <c:v>2092</c:v>
                </c:pt>
                <c:pt idx="64">
                  <c:v>2509</c:v>
                </c:pt>
                <c:pt idx="65">
                  <c:v>2356</c:v>
                </c:pt>
                <c:pt idx="66">
                  <c:v>2038</c:v>
                </c:pt>
                <c:pt idx="67">
                  <c:v>2512</c:v>
                </c:pt>
                <c:pt idx="68">
                  <c:v>2372</c:v>
                </c:pt>
                <c:pt idx="69">
                  <c:v>2367</c:v>
                </c:pt>
                <c:pt idx="70">
                  <c:v>2430</c:v>
                </c:pt>
                <c:pt idx="71">
                  <c:v>2105</c:v>
                </c:pt>
                <c:pt idx="72">
                  <c:v>2085</c:v>
                </c:pt>
                <c:pt idx="73">
                  <c:v>1972</c:v>
                </c:pt>
                <c:pt idx="74">
                  <c:v>1808</c:v>
                </c:pt>
                <c:pt idx="75">
                  <c:v>2546</c:v>
                </c:pt>
                <c:pt idx="76">
                  <c:v>2288</c:v>
                </c:pt>
                <c:pt idx="77">
                  <c:v>2026</c:v>
                </c:pt>
                <c:pt idx="78">
                  <c:v>2136</c:v>
                </c:pt>
                <c:pt idx="79">
                  <c:v>1847</c:v>
                </c:pt>
                <c:pt idx="80">
                  <c:v>1362</c:v>
                </c:pt>
                <c:pt idx="81">
                  <c:v>1735</c:v>
                </c:pt>
                <c:pt idx="82">
                  <c:v>2050</c:v>
                </c:pt>
                <c:pt idx="83">
                  <c:v>1671</c:v>
                </c:pt>
                <c:pt idx="84">
                  <c:v>1892</c:v>
                </c:pt>
                <c:pt idx="85">
                  <c:v>2134</c:v>
                </c:pt>
                <c:pt idx="86">
                  <c:v>1425</c:v>
                </c:pt>
                <c:pt idx="87">
                  <c:v>2174</c:v>
                </c:pt>
                <c:pt idx="88">
                  <c:v>1788</c:v>
                </c:pt>
                <c:pt idx="89">
                  <c:v>1939</c:v>
                </c:pt>
                <c:pt idx="90">
                  <c:v>2250</c:v>
                </c:pt>
                <c:pt idx="91">
                  <c:v>2119</c:v>
                </c:pt>
                <c:pt idx="92">
                  <c:v>2042</c:v>
                </c:pt>
                <c:pt idx="93">
                  <c:v>2102</c:v>
                </c:pt>
                <c:pt idx="94">
                  <c:v>1469</c:v>
                </c:pt>
                <c:pt idx="95">
                  <c:v>1704</c:v>
                </c:pt>
                <c:pt idx="96">
                  <c:v>1823</c:v>
                </c:pt>
                <c:pt idx="97">
                  <c:v>1615</c:v>
                </c:pt>
                <c:pt idx="98">
                  <c:v>1911</c:v>
                </c:pt>
                <c:pt idx="99">
                  <c:v>1623</c:v>
                </c:pt>
                <c:pt idx="100">
                  <c:v>2014</c:v>
                </c:pt>
                <c:pt idx="101">
                  <c:v>27252</c:v>
                </c:pt>
                <c:pt idx="102">
                  <c:v>36630</c:v>
                </c:pt>
                <c:pt idx="103">
                  <c:v>22209</c:v>
                </c:pt>
                <c:pt idx="104">
                  <c:v>24389</c:v>
                </c:pt>
                <c:pt idx="105">
                  <c:v>13282</c:v>
                </c:pt>
                <c:pt idx="106">
                  <c:v>6388</c:v>
                </c:pt>
                <c:pt idx="107">
                  <c:v>34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7449</c:v>
                </c:pt>
                <c:pt idx="1">
                  <c:v>118580</c:v>
                </c:pt>
                <c:pt idx="2">
                  <c:v>129636</c:v>
                </c:pt>
                <c:pt idx="3">
                  <c:v>132518</c:v>
                </c:pt>
                <c:pt idx="4">
                  <c:v>140432</c:v>
                </c:pt>
                <c:pt idx="5">
                  <c:v>135427</c:v>
                </c:pt>
                <c:pt idx="6">
                  <c:v>121349</c:v>
                </c:pt>
                <c:pt idx="7">
                  <c:v>114058</c:v>
                </c:pt>
                <c:pt idx="8">
                  <c:v>110312</c:v>
                </c:pt>
                <c:pt idx="9">
                  <c:v>105273</c:v>
                </c:pt>
                <c:pt idx="10">
                  <c:v>80831</c:v>
                </c:pt>
                <c:pt idx="11">
                  <c:v>66691</c:v>
                </c:pt>
                <c:pt idx="12">
                  <c:v>52625</c:v>
                </c:pt>
                <c:pt idx="13">
                  <c:v>44976</c:v>
                </c:pt>
                <c:pt idx="14">
                  <c:v>42664</c:v>
                </c:pt>
                <c:pt idx="15">
                  <c:v>114762</c:v>
                </c:pt>
                <c:pt idx="16">
                  <c:v>174796</c:v>
                </c:pt>
                <c:pt idx="17">
                  <c:v>198686</c:v>
                </c:pt>
                <c:pt idx="18">
                  <c:v>192391</c:v>
                </c:pt>
                <c:pt idx="19">
                  <c:v>190386</c:v>
                </c:pt>
                <c:pt idx="20">
                  <c:v>198412</c:v>
                </c:pt>
                <c:pt idx="21">
                  <c:v>210286</c:v>
                </c:pt>
                <c:pt idx="22">
                  <c:v>210302</c:v>
                </c:pt>
                <c:pt idx="23">
                  <c:v>205767</c:v>
                </c:pt>
                <c:pt idx="24">
                  <c:v>201057</c:v>
                </c:pt>
                <c:pt idx="25">
                  <c:v>209287</c:v>
                </c:pt>
                <c:pt idx="26">
                  <c:v>218140</c:v>
                </c:pt>
                <c:pt idx="27">
                  <c:v>214418</c:v>
                </c:pt>
                <c:pt idx="28">
                  <c:v>210161</c:v>
                </c:pt>
                <c:pt idx="29">
                  <c:v>204148</c:v>
                </c:pt>
                <c:pt idx="30">
                  <c:v>225045</c:v>
                </c:pt>
                <c:pt idx="31">
                  <c:v>212382</c:v>
                </c:pt>
                <c:pt idx="32">
                  <c:v>212647</c:v>
                </c:pt>
                <c:pt idx="33">
                  <c:v>207165</c:v>
                </c:pt>
                <c:pt idx="34">
                  <c:v>209386</c:v>
                </c:pt>
                <c:pt idx="35">
                  <c:v>206971</c:v>
                </c:pt>
                <c:pt idx="36">
                  <c:v>191883</c:v>
                </c:pt>
                <c:pt idx="37">
                  <c:v>194408</c:v>
                </c:pt>
                <c:pt idx="38">
                  <c:v>193910</c:v>
                </c:pt>
                <c:pt idx="39">
                  <c:v>202729</c:v>
                </c:pt>
                <c:pt idx="40">
                  <c:v>191891</c:v>
                </c:pt>
                <c:pt idx="41">
                  <c:v>189301</c:v>
                </c:pt>
                <c:pt idx="42">
                  <c:v>190466</c:v>
                </c:pt>
                <c:pt idx="43">
                  <c:v>198310</c:v>
                </c:pt>
                <c:pt idx="44">
                  <c:v>202758</c:v>
                </c:pt>
                <c:pt idx="45">
                  <c:v>191075</c:v>
                </c:pt>
                <c:pt idx="46">
                  <c:v>181374</c:v>
                </c:pt>
                <c:pt idx="47">
                  <c:v>196642</c:v>
                </c:pt>
                <c:pt idx="48">
                  <c:v>206266</c:v>
                </c:pt>
                <c:pt idx="49">
                  <c:v>200213</c:v>
                </c:pt>
                <c:pt idx="50">
                  <c:v>231648</c:v>
                </c:pt>
                <c:pt idx="51">
                  <c:v>179626</c:v>
                </c:pt>
                <c:pt idx="52">
                  <c:v>202782</c:v>
                </c:pt>
                <c:pt idx="53">
                  <c:v>189927</c:v>
                </c:pt>
                <c:pt idx="54">
                  <c:v>175137</c:v>
                </c:pt>
                <c:pt idx="55">
                  <c:v>183408</c:v>
                </c:pt>
                <c:pt idx="56">
                  <c:v>189286</c:v>
                </c:pt>
                <c:pt idx="57">
                  <c:v>189541</c:v>
                </c:pt>
                <c:pt idx="58">
                  <c:v>181663</c:v>
                </c:pt>
                <c:pt idx="59">
                  <c:v>191029</c:v>
                </c:pt>
                <c:pt idx="60">
                  <c:v>199637</c:v>
                </c:pt>
                <c:pt idx="61">
                  <c:v>200806</c:v>
                </c:pt>
                <c:pt idx="62">
                  <c:v>190196</c:v>
                </c:pt>
                <c:pt idx="63">
                  <c:v>181868</c:v>
                </c:pt>
                <c:pt idx="64">
                  <c:v>188596</c:v>
                </c:pt>
                <c:pt idx="65">
                  <c:v>195114</c:v>
                </c:pt>
                <c:pt idx="66">
                  <c:v>193847</c:v>
                </c:pt>
                <c:pt idx="67">
                  <c:v>193715</c:v>
                </c:pt>
                <c:pt idx="68">
                  <c:v>188783</c:v>
                </c:pt>
                <c:pt idx="69">
                  <c:v>203187</c:v>
                </c:pt>
                <c:pt idx="70">
                  <c:v>196298</c:v>
                </c:pt>
                <c:pt idx="71">
                  <c:v>182308</c:v>
                </c:pt>
                <c:pt idx="72">
                  <c:v>194068</c:v>
                </c:pt>
                <c:pt idx="73">
                  <c:v>191023</c:v>
                </c:pt>
                <c:pt idx="74">
                  <c:v>210756</c:v>
                </c:pt>
                <c:pt idx="75">
                  <c:v>195860</c:v>
                </c:pt>
                <c:pt idx="76">
                  <c:v>193696</c:v>
                </c:pt>
                <c:pt idx="77">
                  <c:v>182625</c:v>
                </c:pt>
                <c:pt idx="78">
                  <c:v>188323</c:v>
                </c:pt>
                <c:pt idx="79">
                  <c:v>164174</c:v>
                </c:pt>
                <c:pt idx="80">
                  <c:v>163425</c:v>
                </c:pt>
                <c:pt idx="81">
                  <c:v>174132</c:v>
                </c:pt>
                <c:pt idx="82">
                  <c:v>198568</c:v>
                </c:pt>
                <c:pt idx="83">
                  <c:v>195675</c:v>
                </c:pt>
                <c:pt idx="84">
                  <c:v>197556</c:v>
                </c:pt>
                <c:pt idx="85">
                  <c:v>195046</c:v>
                </c:pt>
                <c:pt idx="86">
                  <c:v>198806</c:v>
                </c:pt>
                <c:pt idx="87">
                  <c:v>199567</c:v>
                </c:pt>
                <c:pt idx="88">
                  <c:v>185792</c:v>
                </c:pt>
                <c:pt idx="89">
                  <c:v>187388</c:v>
                </c:pt>
                <c:pt idx="90">
                  <c:v>181211</c:v>
                </c:pt>
                <c:pt idx="91">
                  <c:v>201713</c:v>
                </c:pt>
                <c:pt idx="92">
                  <c:v>182390</c:v>
                </c:pt>
                <c:pt idx="93">
                  <c:v>187750</c:v>
                </c:pt>
                <c:pt idx="94">
                  <c:v>181232</c:v>
                </c:pt>
                <c:pt idx="95">
                  <c:v>187586</c:v>
                </c:pt>
                <c:pt idx="96">
                  <c:v>193735</c:v>
                </c:pt>
                <c:pt idx="97">
                  <c:v>183629</c:v>
                </c:pt>
                <c:pt idx="98">
                  <c:v>179829</c:v>
                </c:pt>
                <c:pt idx="99">
                  <c:v>166995</c:v>
                </c:pt>
                <c:pt idx="100">
                  <c:v>191063</c:v>
                </c:pt>
                <c:pt idx="101">
                  <c:v>164313</c:v>
                </c:pt>
                <c:pt idx="102">
                  <c:v>156797</c:v>
                </c:pt>
                <c:pt idx="103">
                  <c:v>143184</c:v>
                </c:pt>
                <c:pt idx="104">
                  <c:v>143522</c:v>
                </c:pt>
                <c:pt idx="105">
                  <c:v>130832</c:v>
                </c:pt>
                <c:pt idx="106">
                  <c:v>155921</c:v>
                </c:pt>
                <c:pt idx="107">
                  <c:v>18069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17894</c:v>
                </c:pt>
                <c:pt idx="1">
                  <c:v>118869</c:v>
                </c:pt>
                <c:pt idx="2">
                  <c:v>130026</c:v>
                </c:pt>
                <c:pt idx="3">
                  <c:v>132879</c:v>
                </c:pt>
                <c:pt idx="4">
                  <c:v>140778</c:v>
                </c:pt>
                <c:pt idx="5">
                  <c:v>135765</c:v>
                </c:pt>
                <c:pt idx="6">
                  <c:v>121690</c:v>
                </c:pt>
                <c:pt idx="7">
                  <c:v>114281</c:v>
                </c:pt>
                <c:pt idx="8">
                  <c:v>110911</c:v>
                </c:pt>
                <c:pt idx="9">
                  <c:v>105709</c:v>
                </c:pt>
                <c:pt idx="10">
                  <c:v>81180</c:v>
                </c:pt>
                <c:pt idx="11">
                  <c:v>67195</c:v>
                </c:pt>
                <c:pt idx="12">
                  <c:v>52939</c:v>
                </c:pt>
                <c:pt idx="13">
                  <c:v>45170</c:v>
                </c:pt>
                <c:pt idx="14">
                  <c:v>57348</c:v>
                </c:pt>
                <c:pt idx="15">
                  <c:v>128423</c:v>
                </c:pt>
                <c:pt idx="16">
                  <c:v>181123</c:v>
                </c:pt>
                <c:pt idx="17">
                  <c:v>203706</c:v>
                </c:pt>
                <c:pt idx="18">
                  <c:v>196243</c:v>
                </c:pt>
                <c:pt idx="19">
                  <c:v>193051</c:v>
                </c:pt>
                <c:pt idx="20">
                  <c:v>200683</c:v>
                </c:pt>
                <c:pt idx="21">
                  <c:v>211766</c:v>
                </c:pt>
                <c:pt idx="22">
                  <c:v>212155</c:v>
                </c:pt>
                <c:pt idx="23">
                  <c:v>206656</c:v>
                </c:pt>
                <c:pt idx="24">
                  <c:v>202223</c:v>
                </c:pt>
                <c:pt idx="25">
                  <c:v>210172</c:v>
                </c:pt>
                <c:pt idx="26">
                  <c:v>219440</c:v>
                </c:pt>
                <c:pt idx="27">
                  <c:v>215174</c:v>
                </c:pt>
                <c:pt idx="28">
                  <c:v>211157</c:v>
                </c:pt>
                <c:pt idx="29">
                  <c:v>205347</c:v>
                </c:pt>
                <c:pt idx="30">
                  <c:v>226161</c:v>
                </c:pt>
                <c:pt idx="31">
                  <c:v>213192</c:v>
                </c:pt>
                <c:pt idx="32">
                  <c:v>213791</c:v>
                </c:pt>
                <c:pt idx="33">
                  <c:v>207968</c:v>
                </c:pt>
                <c:pt idx="34">
                  <c:v>210338</c:v>
                </c:pt>
                <c:pt idx="35">
                  <c:v>207621</c:v>
                </c:pt>
                <c:pt idx="36">
                  <c:v>192884</c:v>
                </c:pt>
                <c:pt idx="37">
                  <c:v>195243</c:v>
                </c:pt>
                <c:pt idx="38">
                  <c:v>195450</c:v>
                </c:pt>
                <c:pt idx="39">
                  <c:v>204986</c:v>
                </c:pt>
                <c:pt idx="40">
                  <c:v>193640</c:v>
                </c:pt>
                <c:pt idx="41">
                  <c:v>191433</c:v>
                </c:pt>
                <c:pt idx="42">
                  <c:v>192932</c:v>
                </c:pt>
                <c:pt idx="43">
                  <c:v>200704</c:v>
                </c:pt>
                <c:pt idx="44">
                  <c:v>205068</c:v>
                </c:pt>
                <c:pt idx="45">
                  <c:v>193752</c:v>
                </c:pt>
                <c:pt idx="46">
                  <c:v>184061</c:v>
                </c:pt>
                <c:pt idx="47">
                  <c:v>199253</c:v>
                </c:pt>
                <c:pt idx="48">
                  <c:v>209274</c:v>
                </c:pt>
                <c:pt idx="49">
                  <c:v>202743</c:v>
                </c:pt>
                <c:pt idx="50">
                  <c:v>234641</c:v>
                </c:pt>
                <c:pt idx="51">
                  <c:v>181897</c:v>
                </c:pt>
                <c:pt idx="52">
                  <c:v>205131</c:v>
                </c:pt>
                <c:pt idx="53">
                  <c:v>192778</c:v>
                </c:pt>
                <c:pt idx="54">
                  <c:v>177545</c:v>
                </c:pt>
                <c:pt idx="55">
                  <c:v>185784</c:v>
                </c:pt>
                <c:pt idx="56">
                  <c:v>191683</c:v>
                </c:pt>
                <c:pt idx="57">
                  <c:v>192355</c:v>
                </c:pt>
                <c:pt idx="58">
                  <c:v>183741</c:v>
                </c:pt>
                <c:pt idx="59">
                  <c:v>194103</c:v>
                </c:pt>
                <c:pt idx="60">
                  <c:v>202109</c:v>
                </c:pt>
                <c:pt idx="61">
                  <c:v>203397</c:v>
                </c:pt>
                <c:pt idx="62">
                  <c:v>193031</c:v>
                </c:pt>
                <c:pt idx="63">
                  <c:v>183960</c:v>
                </c:pt>
                <c:pt idx="64">
                  <c:v>191105</c:v>
                </c:pt>
                <c:pt idx="65">
                  <c:v>197470</c:v>
                </c:pt>
                <c:pt idx="66">
                  <c:v>195885</c:v>
                </c:pt>
                <c:pt idx="67">
                  <c:v>196227</c:v>
                </c:pt>
                <c:pt idx="68">
                  <c:v>191155</c:v>
                </c:pt>
                <c:pt idx="69">
                  <c:v>205554</c:v>
                </c:pt>
                <c:pt idx="70">
                  <c:v>198728</c:v>
                </c:pt>
                <c:pt idx="71">
                  <c:v>184413</c:v>
                </c:pt>
                <c:pt idx="72">
                  <c:v>196153</c:v>
                </c:pt>
                <c:pt idx="73">
                  <c:v>192995</c:v>
                </c:pt>
                <c:pt idx="74">
                  <c:v>212564</c:v>
                </c:pt>
                <c:pt idx="75">
                  <c:v>198406</c:v>
                </c:pt>
                <c:pt idx="76">
                  <c:v>195984</c:v>
                </c:pt>
                <c:pt idx="77">
                  <c:v>184651</c:v>
                </c:pt>
                <c:pt idx="78">
                  <c:v>190459</c:v>
                </c:pt>
                <c:pt idx="79">
                  <c:v>166021</c:v>
                </c:pt>
                <c:pt idx="80">
                  <c:v>164787</c:v>
                </c:pt>
                <c:pt idx="81">
                  <c:v>175867</c:v>
                </c:pt>
                <c:pt idx="82">
                  <c:v>200618</c:v>
                </c:pt>
                <c:pt idx="83">
                  <c:v>197346</c:v>
                </c:pt>
                <c:pt idx="84">
                  <c:v>199448</c:v>
                </c:pt>
                <c:pt idx="85">
                  <c:v>197180</c:v>
                </c:pt>
                <c:pt idx="86">
                  <c:v>200231</c:v>
                </c:pt>
                <c:pt idx="87">
                  <c:v>201741</c:v>
                </c:pt>
                <c:pt idx="88">
                  <c:v>187580</c:v>
                </c:pt>
                <c:pt idx="89">
                  <c:v>189327</c:v>
                </c:pt>
                <c:pt idx="90">
                  <c:v>183461</c:v>
                </c:pt>
                <c:pt idx="91">
                  <c:v>203832</c:v>
                </c:pt>
                <c:pt idx="92">
                  <c:v>184432</c:v>
                </c:pt>
                <c:pt idx="93">
                  <c:v>189852</c:v>
                </c:pt>
                <c:pt idx="94">
                  <c:v>182701</c:v>
                </c:pt>
                <c:pt idx="95">
                  <c:v>189290</c:v>
                </c:pt>
                <c:pt idx="96">
                  <c:v>195558</c:v>
                </c:pt>
                <c:pt idx="97">
                  <c:v>185244</c:v>
                </c:pt>
                <c:pt idx="98">
                  <c:v>181740</c:v>
                </c:pt>
                <c:pt idx="99">
                  <c:v>168618</c:v>
                </c:pt>
                <c:pt idx="100">
                  <c:v>193077</c:v>
                </c:pt>
                <c:pt idx="101">
                  <c:v>191565</c:v>
                </c:pt>
                <c:pt idx="102">
                  <c:v>193427</c:v>
                </c:pt>
                <c:pt idx="103">
                  <c:v>165393</c:v>
                </c:pt>
                <c:pt idx="104">
                  <c:v>167911</c:v>
                </c:pt>
                <c:pt idx="105">
                  <c:v>144114</c:v>
                </c:pt>
                <c:pt idx="106">
                  <c:v>162309</c:v>
                </c:pt>
                <c:pt idx="107">
                  <c:v>1841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125147</c:v>
                </c:pt>
                <c:pt idx="1">
                  <c:v>128319</c:v>
                </c:pt>
                <c:pt idx="2">
                  <c:v>129672</c:v>
                </c:pt>
                <c:pt idx="3">
                  <c:v>128565</c:v>
                </c:pt>
                <c:pt idx="4">
                  <c:v>126870</c:v>
                </c:pt>
                <c:pt idx="5">
                  <c:v>125977</c:v>
                </c:pt>
                <c:pt idx="6">
                  <c:v>124398</c:v>
                </c:pt>
                <c:pt idx="7">
                  <c:v>118226</c:v>
                </c:pt>
                <c:pt idx="8">
                  <c:v>109979</c:v>
                </c:pt>
                <c:pt idx="9">
                  <c:v>98939</c:v>
                </c:pt>
                <c:pt idx="10">
                  <c:v>87587</c:v>
                </c:pt>
                <c:pt idx="11">
                  <c:v>77664</c:v>
                </c:pt>
                <c:pt idx="12">
                  <c:v>67250</c:v>
                </c:pt>
                <c:pt idx="13">
                  <c:v>55311</c:v>
                </c:pt>
                <c:pt idx="14">
                  <c:v>167776</c:v>
                </c:pt>
                <c:pt idx="15">
                  <c:v>171512</c:v>
                </c:pt>
                <c:pt idx="16">
                  <c:v>165063</c:v>
                </c:pt>
                <c:pt idx="17">
                  <c:v>168676</c:v>
                </c:pt>
                <c:pt idx="18">
                  <c:v>171362</c:v>
                </c:pt>
                <c:pt idx="19">
                  <c:v>191929</c:v>
                </c:pt>
                <c:pt idx="20">
                  <c:v>202229</c:v>
                </c:pt>
                <c:pt idx="21">
                  <c:v>204241</c:v>
                </c:pt>
                <c:pt idx="22">
                  <c:v>204749</c:v>
                </c:pt>
                <c:pt idx="23">
                  <c:v>207221</c:v>
                </c:pt>
                <c:pt idx="24">
                  <c:v>209139</c:v>
                </c:pt>
                <c:pt idx="25">
                  <c:v>208922</c:v>
                </c:pt>
                <c:pt idx="26">
                  <c:v>210355</c:v>
                </c:pt>
                <c:pt idx="27">
                  <c:v>216087</c:v>
                </c:pt>
                <c:pt idx="28">
                  <c:v>216032</c:v>
                </c:pt>
                <c:pt idx="29">
                  <c:v>216418</c:v>
                </c:pt>
                <c:pt idx="30">
                  <c:v>214947</c:v>
                </c:pt>
                <c:pt idx="31">
                  <c:v>213100</c:v>
                </c:pt>
                <c:pt idx="32">
                  <c:v>212118</c:v>
                </c:pt>
                <c:pt idx="33">
                  <c:v>209810</c:v>
                </c:pt>
                <c:pt idx="34">
                  <c:v>208538</c:v>
                </c:pt>
                <c:pt idx="35">
                  <c:v>204698</c:v>
                </c:pt>
                <c:pt idx="36">
                  <c:v>203684</c:v>
                </c:pt>
                <c:pt idx="37">
                  <c:v>201204</c:v>
                </c:pt>
                <c:pt idx="38">
                  <c:v>199148</c:v>
                </c:pt>
                <c:pt idx="39">
                  <c:v>197030</c:v>
                </c:pt>
                <c:pt idx="40">
                  <c:v>196219</c:v>
                </c:pt>
                <c:pt idx="41">
                  <c:v>197723</c:v>
                </c:pt>
                <c:pt idx="42">
                  <c:v>197565</c:v>
                </c:pt>
                <c:pt idx="43">
                  <c:v>196172</c:v>
                </c:pt>
                <c:pt idx="44">
                  <c:v>195455</c:v>
                </c:pt>
                <c:pt idx="45">
                  <c:v>197410</c:v>
                </c:pt>
                <c:pt idx="46">
                  <c:v>198770</c:v>
                </c:pt>
                <c:pt idx="47">
                  <c:v>204044</c:v>
                </c:pt>
                <c:pt idx="48">
                  <c:v>201673</c:v>
                </c:pt>
                <c:pt idx="49">
                  <c:v>201589</c:v>
                </c:pt>
                <c:pt idx="50">
                  <c:v>201451</c:v>
                </c:pt>
                <c:pt idx="51">
                  <c:v>200619</c:v>
                </c:pt>
                <c:pt idx="52">
                  <c:v>198923</c:v>
                </c:pt>
                <c:pt idx="53">
                  <c:v>196740</c:v>
                </c:pt>
                <c:pt idx="54">
                  <c:v>195482</c:v>
                </c:pt>
                <c:pt idx="55">
                  <c:v>189139</c:v>
                </c:pt>
                <c:pt idx="56">
                  <c:v>190598</c:v>
                </c:pt>
                <c:pt idx="57">
                  <c:v>190223</c:v>
                </c:pt>
                <c:pt idx="58">
                  <c:v>191513</c:v>
                </c:pt>
                <c:pt idx="59">
                  <c:v>193453</c:v>
                </c:pt>
                <c:pt idx="60">
                  <c:v>193234</c:v>
                </c:pt>
                <c:pt idx="61">
                  <c:v>193165</c:v>
                </c:pt>
                <c:pt idx="62">
                  <c:v>193746</c:v>
                </c:pt>
                <c:pt idx="63">
                  <c:v>195256</c:v>
                </c:pt>
                <c:pt idx="64">
                  <c:v>195495</c:v>
                </c:pt>
                <c:pt idx="65">
                  <c:v>194114</c:v>
                </c:pt>
                <c:pt idx="66">
                  <c:v>194422</c:v>
                </c:pt>
                <c:pt idx="67">
                  <c:v>195126</c:v>
                </c:pt>
                <c:pt idx="68">
                  <c:v>195137</c:v>
                </c:pt>
                <c:pt idx="69">
                  <c:v>195752</c:v>
                </c:pt>
                <c:pt idx="70">
                  <c:v>195195</c:v>
                </c:pt>
                <c:pt idx="71">
                  <c:v>197304</c:v>
                </c:pt>
                <c:pt idx="72">
                  <c:v>197640</c:v>
                </c:pt>
                <c:pt idx="73">
                  <c:v>198203</c:v>
                </c:pt>
                <c:pt idx="74">
                  <c:v>195619</c:v>
                </c:pt>
                <c:pt idx="75">
                  <c:v>194589</c:v>
                </c:pt>
                <c:pt idx="76">
                  <c:v>192300</c:v>
                </c:pt>
                <c:pt idx="77">
                  <c:v>188392</c:v>
                </c:pt>
                <c:pt idx="78">
                  <c:v>186255</c:v>
                </c:pt>
                <c:pt idx="79">
                  <c:v>184797</c:v>
                </c:pt>
                <c:pt idx="80">
                  <c:v>184649</c:v>
                </c:pt>
                <c:pt idx="81">
                  <c:v>185046</c:v>
                </c:pt>
                <c:pt idx="82">
                  <c:v>186586</c:v>
                </c:pt>
                <c:pt idx="83">
                  <c:v>187783</c:v>
                </c:pt>
                <c:pt idx="84">
                  <c:v>192276</c:v>
                </c:pt>
                <c:pt idx="85">
                  <c:v>195194</c:v>
                </c:pt>
                <c:pt idx="86">
                  <c:v>196827</c:v>
                </c:pt>
                <c:pt idx="87">
                  <c:v>194640</c:v>
                </c:pt>
                <c:pt idx="88">
                  <c:v>195495</c:v>
                </c:pt>
                <c:pt idx="89">
                  <c:v>193613</c:v>
                </c:pt>
                <c:pt idx="90">
                  <c:v>192711</c:v>
                </c:pt>
                <c:pt idx="91">
                  <c:v>190531</c:v>
                </c:pt>
                <c:pt idx="92">
                  <c:v>188980</c:v>
                </c:pt>
                <c:pt idx="93">
                  <c:v>189942</c:v>
                </c:pt>
                <c:pt idx="94">
                  <c:v>189403</c:v>
                </c:pt>
                <c:pt idx="95">
                  <c:v>189196</c:v>
                </c:pt>
                <c:pt idx="96">
                  <c:v>215641</c:v>
                </c:pt>
                <c:pt idx="97">
                  <c:v>185923</c:v>
                </c:pt>
                <c:pt idx="98">
                  <c:v>185270</c:v>
                </c:pt>
                <c:pt idx="99">
                  <c:v>185891</c:v>
                </c:pt>
                <c:pt idx="100">
                  <c:v>183806</c:v>
                </c:pt>
                <c:pt idx="101">
                  <c:v>184620</c:v>
                </c:pt>
                <c:pt idx="102">
                  <c:v>184167</c:v>
                </c:pt>
                <c:pt idx="103">
                  <c:v>177856</c:v>
                </c:pt>
                <c:pt idx="104">
                  <c:v>177933</c:v>
                </c:pt>
                <c:pt idx="105">
                  <c:v>159972</c:v>
                </c:pt>
                <c:pt idx="106">
                  <c:v>190386</c:v>
                </c:pt>
                <c:pt idx="107">
                  <c:v>18577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c:v>
                </c:pt>
                <c:pt idx="6">
                  <c:v>0</c:v>
                </c:pt>
                <c:pt idx="7">
                  <c:v>0</c:v>
                </c:pt>
                <c:pt idx="8">
                  <c:v>0.01</c:v>
                </c:pt>
                <c:pt idx="9">
                  <c:v>0.01</c:v>
                </c:pt>
                <c:pt idx="10">
                  <c:v>0.01</c:v>
                </c:pt>
                <c:pt idx="11">
                  <c:v>0.01</c:v>
                </c:pt>
                <c:pt idx="12">
                  <c:v>0.01</c:v>
                </c:pt>
                <c:pt idx="13">
                  <c:v>0.01</c:v>
                </c:pt>
                <c:pt idx="14">
                  <c:v>0.46</c:v>
                </c:pt>
                <c:pt idx="15">
                  <c:v>0.28999999999999998</c:v>
                </c:pt>
                <c:pt idx="16">
                  <c:v>0.11</c:v>
                </c:pt>
                <c:pt idx="17">
                  <c:v>0.08</c:v>
                </c:pt>
                <c:pt idx="18">
                  <c:v>0.06</c:v>
                </c:pt>
                <c:pt idx="19">
                  <c:v>0.04</c:v>
                </c:pt>
                <c:pt idx="20">
                  <c:v>0.03</c:v>
                </c:pt>
                <c:pt idx="21">
                  <c:v>0.02</c:v>
                </c:pt>
                <c:pt idx="22">
                  <c:v>0.02</c:v>
                </c:pt>
                <c:pt idx="23">
                  <c:v>0.01</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2</c:v>
                </c:pt>
                <c:pt idx="46">
                  <c:v>0.02</c:v>
                </c:pt>
                <c:pt idx="47">
                  <c:v>0.01</c:v>
                </c:pt>
                <c:pt idx="48">
                  <c:v>0.02</c:v>
                </c:pt>
                <c:pt idx="49">
                  <c:v>0.01</c:v>
                </c:pt>
                <c:pt idx="50">
                  <c:v>0.01</c:v>
                </c:pt>
                <c:pt idx="51">
                  <c:v>0.01</c:v>
                </c:pt>
                <c:pt idx="52">
                  <c:v>0.01</c:v>
                </c:pt>
                <c:pt idx="53">
                  <c:v>0.02</c:v>
                </c:pt>
                <c:pt idx="54">
                  <c:v>0.01</c:v>
                </c:pt>
                <c:pt idx="55">
                  <c:v>0.01</c:v>
                </c:pt>
                <c:pt idx="56">
                  <c:v>0.01</c:v>
                </c:pt>
                <c:pt idx="57">
                  <c:v>0.02</c:v>
                </c:pt>
                <c:pt idx="58">
                  <c:v>0.01</c:v>
                </c:pt>
                <c:pt idx="59">
                  <c:v>0.02</c:v>
                </c:pt>
                <c:pt idx="60">
                  <c:v>0.01</c:v>
                </c:pt>
                <c:pt idx="61">
                  <c:v>0.01</c:v>
                </c:pt>
                <c:pt idx="62">
                  <c:v>0.02</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2</c:v>
                </c:pt>
                <c:pt idx="102">
                  <c:v>0.3</c:v>
                </c:pt>
                <c:pt idx="103">
                  <c:v>0.23</c:v>
                </c:pt>
                <c:pt idx="104">
                  <c:v>0.28999999999999998</c:v>
                </c:pt>
                <c:pt idx="105">
                  <c:v>0.23</c:v>
                </c:pt>
                <c:pt idx="106">
                  <c:v>0.1</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293</c:v>
                </c:pt>
                <c:pt idx="1">
                  <c:v>84</c:v>
                </c:pt>
                <c:pt idx="2">
                  <c:v>125</c:v>
                </c:pt>
                <c:pt idx="3">
                  <c:v>134</c:v>
                </c:pt>
                <c:pt idx="4">
                  <c:v>51</c:v>
                </c:pt>
                <c:pt idx="5">
                  <c:v>670</c:v>
                </c:pt>
                <c:pt idx="6">
                  <c:v>606</c:v>
                </c:pt>
                <c:pt idx="7">
                  <c:v>562</c:v>
                </c:pt>
                <c:pt idx="8">
                  <c:v>245</c:v>
                </c:pt>
                <c:pt idx="9">
                  <c:v>402</c:v>
                </c:pt>
                <c:pt idx="10">
                  <c:v>552</c:v>
                </c:pt>
                <c:pt idx="11">
                  <c:v>663</c:v>
                </c:pt>
                <c:pt idx="12">
                  <c:v>885</c:v>
                </c:pt>
                <c:pt idx="13">
                  <c:v>831</c:v>
                </c:pt>
                <c:pt idx="14">
                  <c:v>367</c:v>
                </c:pt>
                <c:pt idx="15">
                  <c:v>764</c:v>
                </c:pt>
                <c:pt idx="16">
                  <c:v>760</c:v>
                </c:pt>
                <c:pt idx="17">
                  <c:v>644</c:v>
                </c:pt>
                <c:pt idx="18">
                  <c:v>551</c:v>
                </c:pt>
                <c:pt idx="19">
                  <c:v>535</c:v>
                </c:pt>
                <c:pt idx="20">
                  <c:v>750</c:v>
                </c:pt>
                <c:pt idx="21">
                  <c:v>371</c:v>
                </c:pt>
                <c:pt idx="22">
                  <c:v>825</c:v>
                </c:pt>
                <c:pt idx="23">
                  <c:v>609</c:v>
                </c:pt>
                <c:pt idx="24">
                  <c:v>390</c:v>
                </c:pt>
                <c:pt idx="25">
                  <c:v>496</c:v>
                </c:pt>
                <c:pt idx="26">
                  <c:v>764</c:v>
                </c:pt>
                <c:pt idx="27">
                  <c:v>553</c:v>
                </c:pt>
                <c:pt idx="28">
                  <c:v>639</c:v>
                </c:pt>
                <c:pt idx="29">
                  <c:v>625</c:v>
                </c:pt>
                <c:pt idx="30">
                  <c:v>603</c:v>
                </c:pt>
                <c:pt idx="31">
                  <c:v>417</c:v>
                </c:pt>
                <c:pt idx="32">
                  <c:v>611</c:v>
                </c:pt>
                <c:pt idx="33">
                  <c:v>481</c:v>
                </c:pt>
                <c:pt idx="34">
                  <c:v>434</c:v>
                </c:pt>
                <c:pt idx="35">
                  <c:v>553</c:v>
                </c:pt>
                <c:pt idx="36">
                  <c:v>717</c:v>
                </c:pt>
                <c:pt idx="37">
                  <c:v>648</c:v>
                </c:pt>
                <c:pt idx="38">
                  <c:v>552</c:v>
                </c:pt>
                <c:pt idx="39">
                  <c:v>861</c:v>
                </c:pt>
                <c:pt idx="40">
                  <c:v>6077</c:v>
                </c:pt>
                <c:pt idx="41">
                  <c:v>10270</c:v>
                </c:pt>
                <c:pt idx="42">
                  <c:v>11807</c:v>
                </c:pt>
                <c:pt idx="43">
                  <c:v>12785</c:v>
                </c:pt>
                <c:pt idx="44">
                  <c:v>16244</c:v>
                </c:pt>
                <c:pt idx="45">
                  <c:v>19851</c:v>
                </c:pt>
                <c:pt idx="46">
                  <c:v>37584</c:v>
                </c:pt>
                <c:pt idx="47">
                  <c:v>35732</c:v>
                </c:pt>
                <c:pt idx="48">
                  <c:v>55479</c:v>
                </c:pt>
                <c:pt idx="49">
                  <c:v>92136</c:v>
                </c:pt>
                <c:pt idx="50">
                  <c:v>224941</c:v>
                </c:pt>
                <c:pt idx="51">
                  <c:v>443320</c:v>
                </c:pt>
                <c:pt idx="52">
                  <c:v>63013</c:v>
                </c:pt>
                <c:pt idx="53">
                  <c:v>10685</c:v>
                </c:pt>
                <c:pt idx="54">
                  <c:v>6231</c:v>
                </c:pt>
                <c:pt idx="55">
                  <c:v>4607</c:v>
                </c:pt>
                <c:pt idx="56">
                  <c:v>2014</c:v>
                </c:pt>
                <c:pt idx="57">
                  <c:v>1555</c:v>
                </c:pt>
                <c:pt idx="58">
                  <c:v>780</c:v>
                </c:pt>
                <c:pt idx="59">
                  <c:v>644</c:v>
                </c:pt>
                <c:pt idx="60">
                  <c:v>533</c:v>
                </c:pt>
                <c:pt idx="61">
                  <c:v>203</c:v>
                </c:pt>
                <c:pt idx="62">
                  <c:v>172</c:v>
                </c:pt>
                <c:pt idx="63">
                  <c:v>381</c:v>
                </c:pt>
                <c:pt idx="64">
                  <c:v>94</c:v>
                </c:pt>
                <c:pt idx="65">
                  <c:v>62</c:v>
                </c:pt>
                <c:pt idx="66">
                  <c:v>65</c:v>
                </c:pt>
                <c:pt idx="67">
                  <c:v>53</c:v>
                </c:pt>
                <c:pt idx="68">
                  <c:v>55</c:v>
                </c:pt>
                <c:pt idx="69">
                  <c:v>13</c:v>
                </c:pt>
                <c:pt idx="70">
                  <c:v>44</c:v>
                </c:pt>
                <c:pt idx="71">
                  <c:v>59</c:v>
                </c:pt>
                <c:pt idx="72">
                  <c:v>74</c:v>
                </c:pt>
                <c:pt idx="73">
                  <c:v>0</c:v>
                </c:pt>
                <c:pt idx="74">
                  <c:v>0</c:v>
                </c:pt>
                <c:pt idx="75">
                  <c:v>50</c:v>
                </c:pt>
                <c:pt idx="76">
                  <c:v>11</c:v>
                </c:pt>
                <c:pt idx="77">
                  <c:v>16</c:v>
                </c:pt>
                <c:pt idx="78">
                  <c:v>39</c:v>
                </c:pt>
                <c:pt idx="79">
                  <c:v>56</c:v>
                </c:pt>
                <c:pt idx="80">
                  <c:v>34</c:v>
                </c:pt>
                <c:pt idx="81">
                  <c:v>12</c:v>
                </c:pt>
                <c:pt idx="82">
                  <c:v>14</c:v>
                </c:pt>
                <c:pt idx="83">
                  <c:v>4</c:v>
                </c:pt>
                <c:pt idx="84">
                  <c:v>0</c:v>
                </c:pt>
                <c:pt idx="85">
                  <c:v>0</c:v>
                </c:pt>
                <c:pt idx="86">
                  <c:v>0</c:v>
                </c:pt>
                <c:pt idx="87">
                  <c:v>8</c:v>
                </c:pt>
                <c:pt idx="88">
                  <c:v>23</c:v>
                </c:pt>
                <c:pt idx="89">
                  <c:v>8</c:v>
                </c:pt>
                <c:pt idx="90">
                  <c:v>19</c:v>
                </c:pt>
                <c:pt idx="91">
                  <c:v>18</c:v>
                </c:pt>
                <c:pt idx="92">
                  <c:v>24</c:v>
                </c:pt>
                <c:pt idx="93">
                  <c:v>3</c:v>
                </c:pt>
                <c:pt idx="94">
                  <c:v>25</c:v>
                </c:pt>
                <c:pt idx="95">
                  <c:v>0</c:v>
                </c:pt>
                <c:pt idx="96">
                  <c:v>24</c:v>
                </c:pt>
                <c:pt idx="97">
                  <c:v>7</c:v>
                </c:pt>
                <c:pt idx="98">
                  <c:v>0</c:v>
                </c:pt>
                <c:pt idx="99">
                  <c:v>0</c:v>
                </c:pt>
                <c:pt idx="100">
                  <c:v>6</c:v>
                </c:pt>
                <c:pt idx="101">
                  <c:v>21</c:v>
                </c:pt>
                <c:pt idx="102">
                  <c:v>0</c:v>
                </c:pt>
                <c:pt idx="103">
                  <c:v>37</c:v>
                </c:pt>
                <c:pt idx="104">
                  <c:v>30</c:v>
                </c:pt>
                <c:pt idx="105">
                  <c:v>55</c:v>
                </c:pt>
                <c:pt idx="106">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705</c:v>
                </c:pt>
                <c:pt idx="1">
                  <c:v>2006</c:v>
                </c:pt>
                <c:pt idx="2">
                  <c:v>5394</c:v>
                </c:pt>
                <c:pt idx="3">
                  <c:v>9748</c:v>
                </c:pt>
                <c:pt idx="4">
                  <c:v>10973</c:v>
                </c:pt>
                <c:pt idx="5">
                  <c:v>11849</c:v>
                </c:pt>
                <c:pt idx="6">
                  <c:v>10461</c:v>
                </c:pt>
                <c:pt idx="7">
                  <c:v>11929</c:v>
                </c:pt>
                <c:pt idx="8">
                  <c:v>14150</c:v>
                </c:pt>
                <c:pt idx="9">
                  <c:v>11898</c:v>
                </c:pt>
                <c:pt idx="10">
                  <c:v>11570</c:v>
                </c:pt>
                <c:pt idx="11">
                  <c:v>11367</c:v>
                </c:pt>
                <c:pt idx="12">
                  <c:v>12267</c:v>
                </c:pt>
                <c:pt idx="13">
                  <c:v>14734</c:v>
                </c:pt>
                <c:pt idx="14">
                  <c:v>15433</c:v>
                </c:pt>
                <c:pt idx="15">
                  <c:v>14592</c:v>
                </c:pt>
                <c:pt idx="16">
                  <c:v>14029</c:v>
                </c:pt>
                <c:pt idx="17">
                  <c:v>15545</c:v>
                </c:pt>
                <c:pt idx="18">
                  <c:v>14226</c:v>
                </c:pt>
                <c:pt idx="19">
                  <c:v>14141</c:v>
                </c:pt>
                <c:pt idx="20">
                  <c:v>14726</c:v>
                </c:pt>
                <c:pt idx="21">
                  <c:v>14504</c:v>
                </c:pt>
                <c:pt idx="22">
                  <c:v>14895</c:v>
                </c:pt>
                <c:pt idx="23">
                  <c:v>15346</c:v>
                </c:pt>
                <c:pt idx="24">
                  <c:v>16426</c:v>
                </c:pt>
                <c:pt idx="25">
                  <c:v>14836</c:v>
                </c:pt>
                <c:pt idx="26">
                  <c:v>15723</c:v>
                </c:pt>
                <c:pt idx="27">
                  <c:v>15047</c:v>
                </c:pt>
                <c:pt idx="28">
                  <c:v>15752</c:v>
                </c:pt>
                <c:pt idx="29">
                  <c:v>14873</c:v>
                </c:pt>
                <c:pt idx="30">
                  <c:v>15776</c:v>
                </c:pt>
                <c:pt idx="31">
                  <c:v>15591</c:v>
                </c:pt>
                <c:pt idx="32">
                  <c:v>16389</c:v>
                </c:pt>
                <c:pt idx="33">
                  <c:v>15795</c:v>
                </c:pt>
                <c:pt idx="34">
                  <c:v>14994</c:v>
                </c:pt>
                <c:pt idx="35">
                  <c:v>13790</c:v>
                </c:pt>
                <c:pt idx="36">
                  <c:v>13515</c:v>
                </c:pt>
                <c:pt idx="37">
                  <c:v>13834</c:v>
                </c:pt>
                <c:pt idx="38">
                  <c:v>13749</c:v>
                </c:pt>
                <c:pt idx="39">
                  <c:v>13916</c:v>
                </c:pt>
                <c:pt idx="40">
                  <c:v>13989</c:v>
                </c:pt>
                <c:pt idx="41">
                  <c:v>13820</c:v>
                </c:pt>
                <c:pt idx="42">
                  <c:v>12798</c:v>
                </c:pt>
                <c:pt idx="43">
                  <c:v>13315</c:v>
                </c:pt>
                <c:pt idx="44">
                  <c:v>13532</c:v>
                </c:pt>
                <c:pt idx="45">
                  <c:v>13095</c:v>
                </c:pt>
                <c:pt idx="46">
                  <c:v>11358</c:v>
                </c:pt>
                <c:pt idx="47">
                  <c:v>12062</c:v>
                </c:pt>
                <c:pt idx="48">
                  <c:v>11413</c:v>
                </c:pt>
                <c:pt idx="49">
                  <c:v>7345</c:v>
                </c:pt>
                <c:pt idx="50">
                  <c:v>5016</c:v>
                </c:pt>
                <c:pt idx="51">
                  <c:v>5398</c:v>
                </c:pt>
                <c:pt idx="52">
                  <c:v>3254</c:v>
                </c:pt>
                <c:pt idx="53">
                  <c:v>1348</c:v>
                </c:pt>
                <c:pt idx="54">
                  <c:v>550</c:v>
                </c:pt>
                <c:pt idx="55">
                  <c:v>220</c:v>
                </c:pt>
                <c:pt idx="56">
                  <c:v>206</c:v>
                </c:pt>
                <c:pt idx="57">
                  <c:v>139</c:v>
                </c:pt>
                <c:pt idx="58">
                  <c:v>190</c:v>
                </c:pt>
                <c:pt idx="59">
                  <c:v>274</c:v>
                </c:pt>
                <c:pt idx="60">
                  <c:v>279</c:v>
                </c:pt>
                <c:pt idx="61">
                  <c:v>258</c:v>
                </c:pt>
                <c:pt idx="62">
                  <c:v>265</c:v>
                </c:pt>
                <c:pt idx="63">
                  <c:v>110</c:v>
                </c:pt>
                <c:pt idx="64">
                  <c:v>262</c:v>
                </c:pt>
                <c:pt idx="65">
                  <c:v>62</c:v>
                </c:pt>
                <c:pt idx="66">
                  <c:v>123</c:v>
                </c:pt>
                <c:pt idx="67">
                  <c:v>101</c:v>
                </c:pt>
                <c:pt idx="68">
                  <c:v>68</c:v>
                </c:pt>
                <c:pt idx="69">
                  <c:v>163</c:v>
                </c:pt>
                <c:pt idx="70">
                  <c:v>74</c:v>
                </c:pt>
                <c:pt idx="71">
                  <c:v>53</c:v>
                </c:pt>
                <c:pt idx="72">
                  <c:v>95</c:v>
                </c:pt>
                <c:pt idx="73">
                  <c:v>105</c:v>
                </c:pt>
                <c:pt idx="74">
                  <c:v>99</c:v>
                </c:pt>
                <c:pt idx="75">
                  <c:v>66</c:v>
                </c:pt>
                <c:pt idx="76">
                  <c:v>50</c:v>
                </c:pt>
                <c:pt idx="77">
                  <c:v>57</c:v>
                </c:pt>
                <c:pt idx="78">
                  <c:v>19</c:v>
                </c:pt>
                <c:pt idx="79">
                  <c:v>24</c:v>
                </c:pt>
                <c:pt idx="80">
                  <c:v>29</c:v>
                </c:pt>
                <c:pt idx="81">
                  <c:v>13</c:v>
                </c:pt>
                <c:pt idx="82">
                  <c:v>22</c:v>
                </c:pt>
                <c:pt idx="83">
                  <c:v>40</c:v>
                </c:pt>
                <c:pt idx="84">
                  <c:v>7</c:v>
                </c:pt>
                <c:pt idx="85">
                  <c:v>54</c:v>
                </c:pt>
                <c:pt idx="86">
                  <c:v>8</c:v>
                </c:pt>
                <c:pt idx="87">
                  <c:v>62</c:v>
                </c:pt>
                <c:pt idx="88">
                  <c:v>58</c:v>
                </c:pt>
                <c:pt idx="89">
                  <c:v>7</c:v>
                </c:pt>
                <c:pt idx="90">
                  <c:v>58</c:v>
                </c:pt>
                <c:pt idx="91">
                  <c:v>2</c:v>
                </c:pt>
                <c:pt idx="92">
                  <c:v>4</c:v>
                </c:pt>
                <c:pt idx="93">
                  <c:v>26</c:v>
                </c:pt>
                <c:pt idx="94">
                  <c:v>12</c:v>
                </c:pt>
                <c:pt idx="95">
                  <c:v>15</c:v>
                </c:pt>
                <c:pt idx="96">
                  <c:v>19</c:v>
                </c:pt>
                <c:pt idx="97">
                  <c:v>42</c:v>
                </c:pt>
                <c:pt idx="98">
                  <c:v>8</c:v>
                </c:pt>
                <c:pt idx="99">
                  <c:v>2</c:v>
                </c:pt>
                <c:pt idx="100">
                  <c:v>46</c:v>
                </c:pt>
                <c:pt idx="101">
                  <c:v>33</c:v>
                </c:pt>
                <c:pt idx="102">
                  <c:v>149</c:v>
                </c:pt>
                <c:pt idx="103">
                  <c:v>348</c:v>
                </c:pt>
                <c:pt idx="104">
                  <c:v>1079</c:v>
                </c:pt>
                <c:pt idx="105">
                  <c:v>5354</c:v>
                </c:pt>
                <c:pt idx="106">
                  <c:v>910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998</c:v>
                </c:pt>
                <c:pt idx="1">
                  <c:v>2090</c:v>
                </c:pt>
                <c:pt idx="2">
                  <c:v>5519</c:v>
                </c:pt>
                <c:pt idx="3">
                  <c:v>9882</c:v>
                </c:pt>
                <c:pt idx="4">
                  <c:v>11024</c:v>
                </c:pt>
                <c:pt idx="5">
                  <c:v>12519</c:v>
                </c:pt>
                <c:pt idx="6">
                  <c:v>11067</c:v>
                </c:pt>
                <c:pt idx="7">
                  <c:v>12491</c:v>
                </c:pt>
                <c:pt idx="8">
                  <c:v>14395</c:v>
                </c:pt>
                <c:pt idx="9">
                  <c:v>12300</c:v>
                </c:pt>
                <c:pt idx="10">
                  <c:v>12122</c:v>
                </c:pt>
                <c:pt idx="11">
                  <c:v>12030</c:v>
                </c:pt>
                <c:pt idx="12">
                  <c:v>13152</c:v>
                </c:pt>
                <c:pt idx="13">
                  <c:v>15565</c:v>
                </c:pt>
                <c:pt idx="14">
                  <c:v>15800</c:v>
                </c:pt>
                <c:pt idx="15">
                  <c:v>15356</c:v>
                </c:pt>
                <c:pt idx="16">
                  <c:v>14789</c:v>
                </c:pt>
                <c:pt idx="17">
                  <c:v>16189</c:v>
                </c:pt>
                <c:pt idx="18">
                  <c:v>14777</c:v>
                </c:pt>
                <c:pt idx="19">
                  <c:v>14676</c:v>
                </c:pt>
                <c:pt idx="20">
                  <c:v>15476</c:v>
                </c:pt>
                <c:pt idx="21">
                  <c:v>14875</c:v>
                </c:pt>
                <c:pt idx="22">
                  <c:v>15720</c:v>
                </c:pt>
                <c:pt idx="23">
                  <c:v>15955</c:v>
                </c:pt>
                <c:pt idx="24">
                  <c:v>16816</c:v>
                </c:pt>
                <c:pt idx="25">
                  <c:v>15332</c:v>
                </c:pt>
                <c:pt idx="26">
                  <c:v>16487</c:v>
                </c:pt>
                <c:pt idx="27">
                  <c:v>15600</c:v>
                </c:pt>
                <c:pt idx="28">
                  <c:v>16391</c:v>
                </c:pt>
                <c:pt idx="29">
                  <c:v>15498</c:v>
                </c:pt>
                <c:pt idx="30">
                  <c:v>16379</c:v>
                </c:pt>
                <c:pt idx="31">
                  <c:v>16008</c:v>
                </c:pt>
                <c:pt idx="32">
                  <c:v>17000</c:v>
                </c:pt>
                <c:pt idx="33">
                  <c:v>16276</c:v>
                </c:pt>
                <c:pt idx="34">
                  <c:v>15428</c:v>
                </c:pt>
                <c:pt idx="35">
                  <c:v>14343</c:v>
                </c:pt>
                <c:pt idx="36">
                  <c:v>14232</c:v>
                </c:pt>
                <c:pt idx="37">
                  <c:v>14482</c:v>
                </c:pt>
                <c:pt idx="38">
                  <c:v>14301</c:v>
                </c:pt>
                <c:pt idx="39">
                  <c:v>14777</c:v>
                </c:pt>
                <c:pt idx="40">
                  <c:v>20066</c:v>
                </c:pt>
                <c:pt idx="41">
                  <c:v>24090</c:v>
                </c:pt>
                <c:pt idx="42">
                  <c:v>24605</c:v>
                </c:pt>
                <c:pt idx="43">
                  <c:v>26100</c:v>
                </c:pt>
                <c:pt idx="44">
                  <c:v>29776</c:v>
                </c:pt>
                <c:pt idx="45">
                  <c:v>32946</c:v>
                </c:pt>
                <c:pt idx="46">
                  <c:v>48942</c:v>
                </c:pt>
                <c:pt idx="47">
                  <c:v>47794</c:v>
                </c:pt>
                <c:pt idx="48">
                  <c:v>66892</c:v>
                </c:pt>
                <c:pt idx="49">
                  <c:v>99481</c:v>
                </c:pt>
                <c:pt idx="50">
                  <c:v>229957</c:v>
                </c:pt>
                <c:pt idx="51">
                  <c:v>448718</c:v>
                </c:pt>
                <c:pt idx="52">
                  <c:v>66267</c:v>
                </c:pt>
                <c:pt idx="53">
                  <c:v>12033</c:v>
                </c:pt>
                <c:pt idx="54">
                  <c:v>6781</c:v>
                </c:pt>
                <c:pt idx="55">
                  <c:v>4827</c:v>
                </c:pt>
                <c:pt idx="56">
                  <c:v>2220</c:v>
                </c:pt>
                <c:pt idx="57">
                  <c:v>1694</c:v>
                </c:pt>
                <c:pt idx="58">
                  <c:v>970</c:v>
                </c:pt>
                <c:pt idx="59">
                  <c:v>918</c:v>
                </c:pt>
                <c:pt idx="60">
                  <c:v>812</c:v>
                </c:pt>
                <c:pt idx="61">
                  <c:v>461</c:v>
                </c:pt>
                <c:pt idx="62">
                  <c:v>437</c:v>
                </c:pt>
                <c:pt idx="63">
                  <c:v>491</c:v>
                </c:pt>
                <c:pt idx="64">
                  <c:v>356</c:v>
                </c:pt>
                <c:pt idx="65">
                  <c:v>124</c:v>
                </c:pt>
                <c:pt idx="66">
                  <c:v>188</c:v>
                </c:pt>
                <c:pt idx="67">
                  <c:v>154</c:v>
                </c:pt>
                <c:pt idx="68">
                  <c:v>123</c:v>
                </c:pt>
                <c:pt idx="69">
                  <c:v>176</c:v>
                </c:pt>
                <c:pt idx="70">
                  <c:v>118</c:v>
                </c:pt>
                <c:pt idx="71">
                  <c:v>112</c:v>
                </c:pt>
                <c:pt idx="72">
                  <c:v>169</c:v>
                </c:pt>
                <c:pt idx="73">
                  <c:v>105</c:v>
                </c:pt>
                <c:pt idx="74">
                  <c:v>99</c:v>
                </c:pt>
                <c:pt idx="75">
                  <c:v>116</c:v>
                </c:pt>
                <c:pt idx="76">
                  <c:v>61</c:v>
                </c:pt>
                <c:pt idx="77">
                  <c:v>73</c:v>
                </c:pt>
                <c:pt idx="78">
                  <c:v>58</c:v>
                </c:pt>
                <c:pt idx="79">
                  <c:v>80</c:v>
                </c:pt>
                <c:pt idx="80">
                  <c:v>63</c:v>
                </c:pt>
                <c:pt idx="81">
                  <c:v>25</c:v>
                </c:pt>
                <c:pt idx="82">
                  <c:v>36</c:v>
                </c:pt>
                <c:pt idx="83">
                  <c:v>44</c:v>
                </c:pt>
                <c:pt idx="84">
                  <c:v>7</c:v>
                </c:pt>
                <c:pt idx="85">
                  <c:v>54</c:v>
                </c:pt>
                <c:pt idx="86">
                  <c:v>8</c:v>
                </c:pt>
                <c:pt idx="87">
                  <c:v>70</c:v>
                </c:pt>
                <c:pt idx="88">
                  <c:v>81</c:v>
                </c:pt>
                <c:pt idx="89">
                  <c:v>15</c:v>
                </c:pt>
                <c:pt idx="90">
                  <c:v>77</c:v>
                </c:pt>
                <c:pt idx="91">
                  <c:v>20</c:v>
                </c:pt>
                <c:pt idx="92">
                  <c:v>28</c:v>
                </c:pt>
                <c:pt idx="93">
                  <c:v>29</c:v>
                </c:pt>
                <c:pt idx="94">
                  <c:v>37</c:v>
                </c:pt>
                <c:pt idx="95">
                  <c:v>15</c:v>
                </c:pt>
                <c:pt idx="96">
                  <c:v>43</c:v>
                </c:pt>
                <c:pt idx="97">
                  <c:v>49</c:v>
                </c:pt>
                <c:pt idx="98">
                  <c:v>8</c:v>
                </c:pt>
                <c:pt idx="99">
                  <c:v>2</c:v>
                </c:pt>
                <c:pt idx="100">
                  <c:v>52</c:v>
                </c:pt>
                <c:pt idx="101">
                  <c:v>54</c:v>
                </c:pt>
                <c:pt idx="102">
                  <c:v>149</c:v>
                </c:pt>
                <c:pt idx="103">
                  <c:v>385</c:v>
                </c:pt>
                <c:pt idx="104">
                  <c:v>1109</c:v>
                </c:pt>
                <c:pt idx="105">
                  <c:v>5409</c:v>
                </c:pt>
                <c:pt idx="106">
                  <c:v>918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4208</c:v>
                </c:pt>
                <c:pt idx="1">
                  <c:v>5763</c:v>
                </c:pt>
                <c:pt idx="2">
                  <c:v>7007</c:v>
                </c:pt>
                <c:pt idx="3">
                  <c:v>7636</c:v>
                </c:pt>
                <c:pt idx="4">
                  <c:v>8330</c:v>
                </c:pt>
                <c:pt idx="5">
                  <c:v>9981</c:v>
                </c:pt>
                <c:pt idx="6">
                  <c:v>11401</c:v>
                </c:pt>
                <c:pt idx="7">
                  <c:v>12276</c:v>
                </c:pt>
                <c:pt idx="8">
                  <c:v>12569</c:v>
                </c:pt>
                <c:pt idx="9">
                  <c:v>12829</c:v>
                </c:pt>
                <c:pt idx="10">
                  <c:v>13068</c:v>
                </c:pt>
                <c:pt idx="11">
                  <c:v>13826</c:v>
                </c:pt>
                <c:pt idx="12">
                  <c:v>14181</c:v>
                </c:pt>
                <c:pt idx="13">
                  <c:v>14260</c:v>
                </c:pt>
                <c:pt idx="14">
                  <c:v>14728</c:v>
                </c:pt>
                <c:pt idx="15">
                  <c:v>14996</c:v>
                </c:pt>
                <c:pt idx="16">
                  <c:v>15263</c:v>
                </c:pt>
                <c:pt idx="17">
                  <c:v>15549</c:v>
                </c:pt>
                <c:pt idx="18">
                  <c:v>15389</c:v>
                </c:pt>
                <c:pt idx="19">
                  <c:v>15212</c:v>
                </c:pt>
                <c:pt idx="20">
                  <c:v>15693</c:v>
                </c:pt>
                <c:pt idx="21">
                  <c:v>15760</c:v>
                </c:pt>
                <c:pt idx="22">
                  <c:v>15783</c:v>
                </c:pt>
                <c:pt idx="23">
                  <c:v>15963</c:v>
                </c:pt>
                <c:pt idx="24">
                  <c:v>15943</c:v>
                </c:pt>
                <c:pt idx="25">
                  <c:v>16202</c:v>
                </c:pt>
                <c:pt idx="26">
                  <c:v>16344</c:v>
                </c:pt>
                <c:pt idx="27">
                  <c:v>16387</c:v>
                </c:pt>
                <c:pt idx="28">
                  <c:v>16412</c:v>
                </c:pt>
                <c:pt idx="29">
                  <c:v>16242</c:v>
                </c:pt>
                <c:pt idx="30">
                  <c:v>16430</c:v>
                </c:pt>
                <c:pt idx="31">
                  <c:v>16269</c:v>
                </c:pt>
                <c:pt idx="32">
                  <c:v>16140</c:v>
                </c:pt>
                <c:pt idx="33">
                  <c:v>15758</c:v>
                </c:pt>
                <c:pt idx="34">
                  <c:v>15474</c:v>
                </c:pt>
                <c:pt idx="35">
                  <c:v>15343</c:v>
                </c:pt>
                <c:pt idx="36">
                  <c:v>15141</c:v>
                </c:pt>
                <c:pt idx="37">
                  <c:v>14855</c:v>
                </c:pt>
                <c:pt idx="38">
                  <c:v>14699</c:v>
                </c:pt>
                <c:pt idx="39">
                  <c:v>14603</c:v>
                </c:pt>
                <c:pt idx="40">
                  <c:v>19874</c:v>
                </c:pt>
                <c:pt idx="41">
                  <c:v>23840</c:v>
                </c:pt>
                <c:pt idx="42">
                  <c:v>25281</c:v>
                </c:pt>
                <c:pt idx="43">
                  <c:v>26514</c:v>
                </c:pt>
                <c:pt idx="44">
                  <c:v>29727</c:v>
                </c:pt>
                <c:pt idx="45">
                  <c:v>32880</c:v>
                </c:pt>
                <c:pt idx="46">
                  <c:v>42311</c:v>
                </c:pt>
                <c:pt idx="47">
                  <c:v>41634</c:v>
                </c:pt>
                <c:pt idx="48">
                  <c:v>46013</c:v>
                </c:pt>
                <c:pt idx="49">
                  <c:v>45958</c:v>
                </c:pt>
                <c:pt idx="50">
                  <c:v>46302</c:v>
                </c:pt>
                <c:pt idx="51">
                  <c:v>45018</c:v>
                </c:pt>
                <c:pt idx="52">
                  <c:v>42133</c:v>
                </c:pt>
                <c:pt idx="53">
                  <c:v>21948</c:v>
                </c:pt>
                <c:pt idx="54">
                  <c:v>11672</c:v>
                </c:pt>
                <c:pt idx="55">
                  <c:v>9077</c:v>
                </c:pt>
                <c:pt idx="56">
                  <c:v>6653</c:v>
                </c:pt>
                <c:pt idx="57">
                  <c:v>6634</c:v>
                </c:pt>
                <c:pt idx="58">
                  <c:v>3148</c:v>
                </c:pt>
                <c:pt idx="59">
                  <c:v>3523</c:v>
                </c:pt>
                <c:pt idx="60">
                  <c:v>2583</c:v>
                </c:pt>
                <c:pt idx="61">
                  <c:v>1147</c:v>
                </c:pt>
                <c:pt idx="62">
                  <c:v>689</c:v>
                </c:pt>
                <c:pt idx="63">
                  <c:v>852</c:v>
                </c:pt>
                <c:pt idx="64">
                  <c:v>389</c:v>
                </c:pt>
                <c:pt idx="65">
                  <c:v>250</c:v>
                </c:pt>
                <c:pt idx="66">
                  <c:v>234</c:v>
                </c:pt>
                <c:pt idx="67">
                  <c:v>239</c:v>
                </c:pt>
                <c:pt idx="68">
                  <c:v>146</c:v>
                </c:pt>
                <c:pt idx="69">
                  <c:v>154</c:v>
                </c:pt>
                <c:pt idx="70">
                  <c:v>224</c:v>
                </c:pt>
                <c:pt idx="71">
                  <c:v>140</c:v>
                </c:pt>
                <c:pt idx="72">
                  <c:v>116</c:v>
                </c:pt>
                <c:pt idx="73">
                  <c:v>109</c:v>
                </c:pt>
                <c:pt idx="74">
                  <c:v>93</c:v>
                </c:pt>
                <c:pt idx="75">
                  <c:v>79</c:v>
                </c:pt>
                <c:pt idx="76">
                  <c:v>92</c:v>
                </c:pt>
                <c:pt idx="77">
                  <c:v>63</c:v>
                </c:pt>
                <c:pt idx="78">
                  <c:v>66</c:v>
                </c:pt>
                <c:pt idx="79">
                  <c:v>49</c:v>
                </c:pt>
                <c:pt idx="80">
                  <c:v>69</c:v>
                </c:pt>
                <c:pt idx="81">
                  <c:v>48</c:v>
                </c:pt>
                <c:pt idx="82">
                  <c:v>45</c:v>
                </c:pt>
                <c:pt idx="83">
                  <c:v>49</c:v>
                </c:pt>
                <c:pt idx="84">
                  <c:v>35</c:v>
                </c:pt>
                <c:pt idx="85">
                  <c:v>37</c:v>
                </c:pt>
                <c:pt idx="86">
                  <c:v>36</c:v>
                </c:pt>
                <c:pt idx="87">
                  <c:v>45</c:v>
                </c:pt>
                <c:pt idx="88">
                  <c:v>82</c:v>
                </c:pt>
                <c:pt idx="89">
                  <c:v>47</c:v>
                </c:pt>
                <c:pt idx="90">
                  <c:v>91</c:v>
                </c:pt>
                <c:pt idx="91">
                  <c:v>30</c:v>
                </c:pt>
                <c:pt idx="92">
                  <c:v>62</c:v>
                </c:pt>
                <c:pt idx="93">
                  <c:v>30</c:v>
                </c:pt>
                <c:pt idx="94">
                  <c:v>46</c:v>
                </c:pt>
                <c:pt idx="95">
                  <c:v>47</c:v>
                </c:pt>
                <c:pt idx="96">
                  <c:v>127</c:v>
                </c:pt>
                <c:pt idx="97">
                  <c:v>66</c:v>
                </c:pt>
                <c:pt idx="98">
                  <c:v>53</c:v>
                </c:pt>
                <c:pt idx="99">
                  <c:v>54</c:v>
                </c:pt>
                <c:pt idx="100">
                  <c:v>74</c:v>
                </c:pt>
                <c:pt idx="101">
                  <c:v>289</c:v>
                </c:pt>
                <c:pt idx="102">
                  <c:v>1017</c:v>
                </c:pt>
                <c:pt idx="103">
                  <c:v>2341</c:v>
                </c:pt>
                <c:pt idx="104">
                  <c:v>3898</c:v>
                </c:pt>
                <c:pt idx="105">
                  <c:v>5502</c:v>
                </c:pt>
                <c:pt idx="106">
                  <c:v>72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31</c:v>
                </c:pt>
                <c:pt idx="1">
                  <c:v>0.04</c:v>
                </c:pt>
                <c:pt idx="2">
                  <c:v>0.04</c:v>
                </c:pt>
                <c:pt idx="3">
                  <c:v>0.02</c:v>
                </c:pt>
                <c:pt idx="4">
                  <c:v>0.01</c:v>
                </c:pt>
                <c:pt idx="5">
                  <c:v>0.05</c:v>
                </c:pt>
                <c:pt idx="6">
                  <c:v>0.09</c:v>
                </c:pt>
                <c:pt idx="7">
                  <c:v>0.09</c:v>
                </c:pt>
                <c:pt idx="8">
                  <c:v>0.03</c:v>
                </c:pt>
                <c:pt idx="9">
                  <c:v>0.06</c:v>
                </c:pt>
                <c:pt idx="10">
                  <c:v>0.08</c:v>
                </c:pt>
                <c:pt idx="11">
                  <c:v>0.08</c:v>
                </c:pt>
                <c:pt idx="12">
                  <c:v>0.09</c:v>
                </c:pt>
                <c:pt idx="13">
                  <c:v>0.08</c:v>
                </c:pt>
                <c:pt idx="14">
                  <c:v>0.04</c:v>
                </c:pt>
                <c:pt idx="15">
                  <c:v>7.0000000000000007E-2</c:v>
                </c:pt>
                <c:pt idx="16">
                  <c:v>0.06</c:v>
                </c:pt>
                <c:pt idx="17">
                  <c:v>7.0000000000000007E-2</c:v>
                </c:pt>
                <c:pt idx="18">
                  <c:v>7.0000000000000007E-2</c:v>
                </c:pt>
                <c:pt idx="19">
                  <c:v>0.06</c:v>
                </c:pt>
                <c:pt idx="20">
                  <c:v>0.08</c:v>
                </c:pt>
                <c:pt idx="21">
                  <c:v>0.05</c:v>
                </c:pt>
                <c:pt idx="22">
                  <c:v>0.08</c:v>
                </c:pt>
                <c:pt idx="23">
                  <c:v>0.08</c:v>
                </c:pt>
                <c:pt idx="24">
                  <c:v>0.06</c:v>
                </c:pt>
                <c:pt idx="25">
                  <c:v>7.0000000000000007E-2</c:v>
                </c:pt>
                <c:pt idx="26">
                  <c:v>0.09</c:v>
                </c:pt>
                <c:pt idx="27">
                  <c:v>0.06</c:v>
                </c:pt>
                <c:pt idx="28">
                  <c:v>0.06</c:v>
                </c:pt>
                <c:pt idx="29">
                  <c:v>0.06</c:v>
                </c:pt>
                <c:pt idx="30">
                  <c:v>0.04</c:v>
                </c:pt>
                <c:pt idx="31">
                  <c:v>0.05</c:v>
                </c:pt>
                <c:pt idx="32">
                  <c:v>0.05</c:v>
                </c:pt>
                <c:pt idx="33">
                  <c:v>0.03</c:v>
                </c:pt>
                <c:pt idx="34">
                  <c:v>0.03</c:v>
                </c:pt>
                <c:pt idx="35">
                  <c:v>0.04</c:v>
                </c:pt>
                <c:pt idx="36">
                  <c:v>0.06</c:v>
                </c:pt>
                <c:pt idx="37">
                  <c:v>7.0000000000000007E-2</c:v>
                </c:pt>
                <c:pt idx="38">
                  <c:v>0.05</c:v>
                </c:pt>
                <c:pt idx="39">
                  <c:v>7.0000000000000007E-2</c:v>
                </c:pt>
                <c:pt idx="40">
                  <c:v>0.26</c:v>
                </c:pt>
                <c:pt idx="41">
                  <c:v>0.37</c:v>
                </c:pt>
                <c:pt idx="42">
                  <c:v>0.42</c:v>
                </c:pt>
                <c:pt idx="43">
                  <c:v>0.41</c:v>
                </c:pt>
                <c:pt idx="44">
                  <c:v>0.47</c:v>
                </c:pt>
                <c:pt idx="45">
                  <c:v>0.53</c:v>
                </c:pt>
                <c:pt idx="46">
                  <c:v>0.7</c:v>
                </c:pt>
                <c:pt idx="47">
                  <c:v>0.68</c:v>
                </c:pt>
                <c:pt idx="48">
                  <c:v>0.77</c:v>
                </c:pt>
                <c:pt idx="49">
                  <c:v>0.9</c:v>
                </c:pt>
                <c:pt idx="50">
                  <c:v>0.97</c:v>
                </c:pt>
                <c:pt idx="51">
                  <c:v>0.99</c:v>
                </c:pt>
                <c:pt idx="52">
                  <c:v>0.99</c:v>
                </c:pt>
                <c:pt idx="53">
                  <c:v>0.92</c:v>
                </c:pt>
                <c:pt idx="54">
                  <c:v>0.94</c:v>
                </c:pt>
                <c:pt idx="55">
                  <c:v>0.97</c:v>
                </c:pt>
                <c:pt idx="56">
                  <c:v>0.94</c:v>
                </c:pt>
                <c:pt idx="57">
                  <c:v>0.95</c:v>
                </c:pt>
                <c:pt idx="58">
                  <c:v>0.84</c:v>
                </c:pt>
                <c:pt idx="59">
                  <c:v>0.81</c:v>
                </c:pt>
                <c:pt idx="60">
                  <c:v>0.73</c:v>
                </c:pt>
                <c:pt idx="61">
                  <c:v>0.48</c:v>
                </c:pt>
                <c:pt idx="62">
                  <c:v>0.44</c:v>
                </c:pt>
                <c:pt idx="63">
                  <c:v>0.79</c:v>
                </c:pt>
                <c:pt idx="64">
                  <c:v>0.39</c:v>
                </c:pt>
                <c:pt idx="65">
                  <c:v>0.4</c:v>
                </c:pt>
                <c:pt idx="66">
                  <c:v>0.3</c:v>
                </c:pt>
                <c:pt idx="67">
                  <c:v>0.28999999999999998</c:v>
                </c:pt>
                <c:pt idx="68">
                  <c:v>0.52</c:v>
                </c:pt>
                <c:pt idx="69">
                  <c:v>0.13</c:v>
                </c:pt>
                <c:pt idx="70">
                  <c:v>0.38</c:v>
                </c:pt>
                <c:pt idx="71">
                  <c:v>0.5</c:v>
                </c:pt>
                <c:pt idx="72">
                  <c:v>0.48</c:v>
                </c:pt>
                <c:pt idx="73">
                  <c:v>0</c:v>
                </c:pt>
                <c:pt idx="74">
                  <c:v>0</c:v>
                </c:pt>
                <c:pt idx="75">
                  <c:v>0.57999999999999996</c:v>
                </c:pt>
                <c:pt idx="76">
                  <c:v>0.26</c:v>
                </c:pt>
                <c:pt idx="77">
                  <c:v>0.3</c:v>
                </c:pt>
                <c:pt idx="78">
                  <c:v>0.68</c:v>
                </c:pt>
                <c:pt idx="79">
                  <c:v>0.84</c:v>
                </c:pt>
                <c:pt idx="80">
                  <c:v>0.78</c:v>
                </c:pt>
                <c:pt idx="81">
                  <c:v>0.38</c:v>
                </c:pt>
                <c:pt idx="82">
                  <c:v>0.33</c:v>
                </c:pt>
                <c:pt idx="83">
                  <c:v>0.28999999999999998</c:v>
                </c:pt>
                <c:pt idx="84">
                  <c:v>0</c:v>
                </c:pt>
                <c:pt idx="85">
                  <c:v>0</c:v>
                </c:pt>
                <c:pt idx="86">
                  <c:v>0</c:v>
                </c:pt>
                <c:pt idx="87">
                  <c:v>0.04</c:v>
                </c:pt>
                <c:pt idx="88">
                  <c:v>0.15</c:v>
                </c:pt>
                <c:pt idx="89">
                  <c:v>0.14000000000000001</c:v>
                </c:pt>
                <c:pt idx="90">
                  <c:v>0.56999999999999995</c:v>
                </c:pt>
                <c:pt idx="91">
                  <c:v>0.5</c:v>
                </c:pt>
                <c:pt idx="92">
                  <c:v>0.83</c:v>
                </c:pt>
                <c:pt idx="93">
                  <c:v>0.2</c:v>
                </c:pt>
                <c:pt idx="94">
                  <c:v>0.78</c:v>
                </c:pt>
                <c:pt idx="95">
                  <c:v>0</c:v>
                </c:pt>
                <c:pt idx="96">
                  <c:v>0.67</c:v>
                </c:pt>
                <c:pt idx="97">
                  <c:v>0.08</c:v>
                </c:pt>
                <c:pt idx="98">
                  <c:v>0</c:v>
                </c:pt>
                <c:pt idx="99">
                  <c:v>0</c:v>
                </c:pt>
                <c:pt idx="100">
                  <c:v>0.2</c:v>
                </c:pt>
                <c:pt idx="101">
                  <c:v>0.5</c:v>
                </c:pt>
                <c:pt idx="102">
                  <c:v>0</c:v>
                </c:pt>
                <c:pt idx="103">
                  <c:v>0.11</c:v>
                </c:pt>
                <c:pt idx="104">
                  <c:v>0.02</c:v>
                </c:pt>
                <c:pt idx="105">
                  <c:v>0.01</c:v>
                </c:pt>
                <c:pt idx="106">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6</c:v>
                </c:pt>
                <c:pt idx="49">
                  <c:v>374213</c:v>
                </c:pt>
                <c:pt idx="50">
                  <c:v>415302</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50</c:v>
                </c:pt>
                <c:pt idx="72">
                  <c:v>303601</c:v>
                </c:pt>
                <c:pt idx="73">
                  <c:v>351703</c:v>
                </c:pt>
                <c:pt idx="74">
                  <c:v>382362</c:v>
                </c:pt>
                <c:pt idx="75">
                  <c:v>356831</c:v>
                </c:pt>
                <c:pt idx="76">
                  <c:v>355925</c:v>
                </c:pt>
                <c:pt idx="77">
                  <c:v>353581</c:v>
                </c:pt>
                <c:pt idx="78">
                  <c:v>380620</c:v>
                </c:pt>
                <c:pt idx="79">
                  <c:v>353302</c:v>
                </c:pt>
                <c:pt idx="80">
                  <c:v>349918</c:v>
                </c:pt>
                <c:pt idx="81">
                  <c:v>347994</c:v>
                </c:pt>
                <c:pt idx="82">
                  <c:v>363801</c:v>
                </c:pt>
                <c:pt idx="83">
                  <c:v>358383</c:v>
                </c:pt>
                <c:pt idx="84">
                  <c:v>354662</c:v>
                </c:pt>
                <c:pt idx="85">
                  <c:v>350665</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9</c:v>
                </c:pt>
                <c:pt idx="49">
                  <c:v>535762</c:v>
                </c:pt>
                <c:pt idx="50">
                  <c:v>692362</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50</c:v>
                </c:pt>
                <c:pt idx="72">
                  <c:v>389692</c:v>
                </c:pt>
                <c:pt idx="73">
                  <c:v>352332</c:v>
                </c:pt>
                <c:pt idx="74">
                  <c:v>383245</c:v>
                </c:pt>
                <c:pt idx="75">
                  <c:v>357924</c:v>
                </c:pt>
                <c:pt idx="76">
                  <c:v>357699</c:v>
                </c:pt>
                <c:pt idx="77">
                  <c:v>354305</c:v>
                </c:pt>
                <c:pt idx="78">
                  <c:v>382215</c:v>
                </c:pt>
                <c:pt idx="79">
                  <c:v>354610</c:v>
                </c:pt>
                <c:pt idx="80">
                  <c:v>351091</c:v>
                </c:pt>
                <c:pt idx="81">
                  <c:v>349183</c:v>
                </c:pt>
                <c:pt idx="82">
                  <c:v>364818</c:v>
                </c:pt>
                <c:pt idx="83">
                  <c:v>359414</c:v>
                </c:pt>
                <c:pt idx="84">
                  <c:v>356631</c:v>
                </c:pt>
                <c:pt idx="85">
                  <c:v>351352</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11</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6</c:v>
                </c:pt>
                <c:pt idx="19">
                  <c:v>384792</c:v>
                </c:pt>
                <c:pt idx="20">
                  <c:v>383938</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4</c:v>
                </c:pt>
                <c:pt idx="49">
                  <c:v>406878</c:v>
                </c:pt>
                <c:pt idx="50">
                  <c:v>401230</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5</c:v>
                </c:pt>
                <c:pt idx="72">
                  <c:v>364699</c:v>
                </c:pt>
                <c:pt idx="73">
                  <c:v>364327</c:v>
                </c:pt>
                <c:pt idx="74">
                  <c:v>362717</c:v>
                </c:pt>
                <c:pt idx="75">
                  <c:v>365331</c:v>
                </c:pt>
                <c:pt idx="76">
                  <c:v>366152</c:v>
                </c:pt>
                <c:pt idx="77">
                  <c:v>361971</c:v>
                </c:pt>
                <c:pt idx="78">
                  <c:v>361519</c:v>
                </c:pt>
                <c:pt idx="79">
                  <c:v>359216</c:v>
                </c:pt>
                <c:pt idx="80">
                  <c:v>359388</c:v>
                </c:pt>
                <c:pt idx="81">
                  <c:v>359259</c:v>
                </c:pt>
                <c:pt idx="82">
                  <c:v>358858</c:v>
                </c:pt>
                <c:pt idx="83">
                  <c:v>355107</c:v>
                </c:pt>
                <c:pt idx="84">
                  <c:v>355381</c:v>
                </c:pt>
                <c:pt idx="85">
                  <c:v>353081</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452</c:v>
                </c:pt>
                <c:pt idx="1">
                  <c:v>21005</c:v>
                </c:pt>
                <c:pt idx="2">
                  <c:v>22600</c:v>
                </c:pt>
                <c:pt idx="3">
                  <c:v>15098</c:v>
                </c:pt>
                <c:pt idx="4">
                  <c:v>10905</c:v>
                </c:pt>
                <c:pt idx="5">
                  <c:v>9902</c:v>
                </c:pt>
                <c:pt idx="6">
                  <c:v>13313</c:v>
                </c:pt>
                <c:pt idx="7">
                  <c:v>29457</c:v>
                </c:pt>
                <c:pt idx="8">
                  <c:v>12281</c:v>
                </c:pt>
                <c:pt idx="9">
                  <c:v>12400</c:v>
                </c:pt>
                <c:pt idx="10">
                  <c:v>26712</c:v>
                </c:pt>
                <c:pt idx="11">
                  <c:v>16837</c:v>
                </c:pt>
                <c:pt idx="12">
                  <c:v>9033</c:v>
                </c:pt>
                <c:pt idx="13">
                  <c:v>9138</c:v>
                </c:pt>
                <c:pt idx="14">
                  <c:v>12862</c:v>
                </c:pt>
                <c:pt idx="15">
                  <c:v>33527</c:v>
                </c:pt>
                <c:pt idx="16">
                  <c:v>13219</c:v>
                </c:pt>
                <c:pt idx="17">
                  <c:v>2003</c:v>
                </c:pt>
                <c:pt idx="18">
                  <c:v>3035</c:v>
                </c:pt>
                <c:pt idx="19">
                  <c:v>2768</c:v>
                </c:pt>
                <c:pt idx="20">
                  <c:v>3396</c:v>
                </c:pt>
                <c:pt idx="21">
                  <c:v>1003</c:v>
                </c:pt>
                <c:pt idx="22">
                  <c:v>782</c:v>
                </c:pt>
                <c:pt idx="23">
                  <c:v>822</c:v>
                </c:pt>
                <c:pt idx="24">
                  <c:v>435</c:v>
                </c:pt>
                <c:pt idx="25">
                  <c:v>671</c:v>
                </c:pt>
                <c:pt idx="26">
                  <c:v>759</c:v>
                </c:pt>
                <c:pt idx="27">
                  <c:v>7212</c:v>
                </c:pt>
                <c:pt idx="28">
                  <c:v>23168</c:v>
                </c:pt>
                <c:pt idx="29">
                  <c:v>10796</c:v>
                </c:pt>
                <c:pt idx="30">
                  <c:v>9974</c:v>
                </c:pt>
                <c:pt idx="31">
                  <c:v>8525</c:v>
                </c:pt>
                <c:pt idx="32">
                  <c:v>8674</c:v>
                </c:pt>
                <c:pt idx="33">
                  <c:v>8566</c:v>
                </c:pt>
                <c:pt idx="34">
                  <c:v>6299</c:v>
                </c:pt>
                <c:pt idx="35">
                  <c:v>2328</c:v>
                </c:pt>
                <c:pt idx="36">
                  <c:v>1491</c:v>
                </c:pt>
                <c:pt idx="37">
                  <c:v>1006</c:v>
                </c:pt>
                <c:pt idx="38">
                  <c:v>3821</c:v>
                </c:pt>
                <c:pt idx="39">
                  <c:v>7302</c:v>
                </c:pt>
                <c:pt idx="40">
                  <c:v>41486</c:v>
                </c:pt>
                <c:pt idx="41">
                  <c:v>48060</c:v>
                </c:pt>
                <c:pt idx="42">
                  <c:v>52758</c:v>
                </c:pt>
                <c:pt idx="43">
                  <c:v>60694</c:v>
                </c:pt>
                <c:pt idx="44">
                  <c:v>63375</c:v>
                </c:pt>
                <c:pt idx="45">
                  <c:v>75506</c:v>
                </c:pt>
                <c:pt idx="46">
                  <c:v>126668</c:v>
                </c:pt>
                <c:pt idx="47">
                  <c:v>124147</c:v>
                </c:pt>
                <c:pt idx="48">
                  <c:v>169430</c:v>
                </c:pt>
                <c:pt idx="49">
                  <c:v>260071</c:v>
                </c:pt>
                <c:pt idx="50">
                  <c:v>515709</c:v>
                </c:pt>
                <c:pt idx="51">
                  <c:v>731707</c:v>
                </c:pt>
                <c:pt idx="52">
                  <c:v>67755</c:v>
                </c:pt>
                <c:pt idx="53">
                  <c:v>15925</c:v>
                </c:pt>
                <c:pt idx="54">
                  <c:v>6050</c:v>
                </c:pt>
                <c:pt idx="55">
                  <c:v>3232</c:v>
                </c:pt>
                <c:pt idx="56">
                  <c:v>1874</c:v>
                </c:pt>
                <c:pt idx="57">
                  <c:v>1706</c:v>
                </c:pt>
                <c:pt idx="58">
                  <c:v>11461</c:v>
                </c:pt>
                <c:pt idx="59">
                  <c:v>31638</c:v>
                </c:pt>
                <c:pt idx="60">
                  <c:v>20067</c:v>
                </c:pt>
                <c:pt idx="61">
                  <c:v>17803</c:v>
                </c:pt>
                <c:pt idx="62">
                  <c:v>20460</c:v>
                </c:pt>
                <c:pt idx="63">
                  <c:v>34287</c:v>
                </c:pt>
                <c:pt idx="64">
                  <c:v>19494</c:v>
                </c:pt>
                <c:pt idx="65">
                  <c:v>16351</c:v>
                </c:pt>
                <c:pt idx="66">
                  <c:v>19375</c:v>
                </c:pt>
                <c:pt idx="67">
                  <c:v>35571</c:v>
                </c:pt>
                <c:pt idx="68">
                  <c:v>18538</c:v>
                </c:pt>
                <c:pt idx="69">
                  <c:v>17384</c:v>
                </c:pt>
                <c:pt idx="70">
                  <c:v>15968</c:v>
                </c:pt>
                <c:pt idx="71">
                  <c:v>18504</c:v>
                </c:pt>
                <c:pt idx="72">
                  <c:v>19682</c:v>
                </c:pt>
                <c:pt idx="73">
                  <c:v>98</c:v>
                </c:pt>
                <c:pt idx="74">
                  <c:v>769</c:v>
                </c:pt>
                <c:pt idx="75">
                  <c:v>190</c:v>
                </c:pt>
                <c:pt idx="76">
                  <c:v>313</c:v>
                </c:pt>
                <c:pt idx="77">
                  <c:v>131</c:v>
                </c:pt>
                <c:pt idx="78">
                  <c:v>1019</c:v>
                </c:pt>
                <c:pt idx="79">
                  <c:v>8672</c:v>
                </c:pt>
                <c:pt idx="80">
                  <c:v>16596</c:v>
                </c:pt>
                <c:pt idx="81">
                  <c:v>17981</c:v>
                </c:pt>
                <c:pt idx="82">
                  <c:v>17413</c:v>
                </c:pt>
                <c:pt idx="83">
                  <c:v>4099</c:v>
                </c:pt>
                <c:pt idx="84">
                  <c:v>3252</c:v>
                </c:pt>
                <c:pt idx="85">
                  <c:v>712</c:v>
                </c:pt>
                <c:pt idx="86">
                  <c:v>2217</c:v>
                </c:pt>
                <c:pt idx="87">
                  <c:v>712</c:v>
                </c:pt>
                <c:pt idx="88">
                  <c:v>765</c:v>
                </c:pt>
                <c:pt idx="89">
                  <c:v>756</c:v>
                </c:pt>
                <c:pt idx="90">
                  <c:v>3492</c:v>
                </c:pt>
                <c:pt idx="91">
                  <c:v>8404</c:v>
                </c:pt>
                <c:pt idx="92">
                  <c:v>19913</c:v>
                </c:pt>
                <c:pt idx="93">
                  <c:v>38222</c:v>
                </c:pt>
                <c:pt idx="94">
                  <c:v>37545</c:v>
                </c:pt>
                <c:pt idx="95">
                  <c:v>34961</c:v>
                </c:pt>
                <c:pt idx="96">
                  <c:v>44319</c:v>
                </c:pt>
                <c:pt idx="97">
                  <c:v>53538</c:v>
                </c:pt>
                <c:pt idx="98">
                  <c:v>66493</c:v>
                </c:pt>
                <c:pt idx="99">
                  <c:v>107195</c:v>
                </c:pt>
                <c:pt idx="100">
                  <c:v>117801</c:v>
                </c:pt>
                <c:pt idx="101">
                  <c:v>162782</c:v>
                </c:pt>
                <c:pt idx="102">
                  <c:v>255107</c:v>
                </c:pt>
                <c:pt idx="103">
                  <c:v>457574</c:v>
                </c:pt>
                <c:pt idx="104">
                  <c:v>8791</c:v>
                </c:pt>
                <c:pt idx="105">
                  <c:v>2066</c:v>
                </c:pt>
                <c:pt idx="106">
                  <c:v>1129</c:v>
                </c:pt>
                <c:pt idx="107">
                  <c:v>80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6408</c:v>
                </c:pt>
                <c:pt idx="1">
                  <c:v>67865</c:v>
                </c:pt>
                <c:pt idx="2">
                  <c:v>67393</c:v>
                </c:pt>
                <c:pt idx="3">
                  <c:v>67451</c:v>
                </c:pt>
                <c:pt idx="4">
                  <c:v>69267</c:v>
                </c:pt>
                <c:pt idx="5">
                  <c:v>74626</c:v>
                </c:pt>
                <c:pt idx="6">
                  <c:v>68126</c:v>
                </c:pt>
                <c:pt idx="7">
                  <c:v>70310</c:v>
                </c:pt>
                <c:pt idx="8">
                  <c:v>80423</c:v>
                </c:pt>
                <c:pt idx="9">
                  <c:v>71738</c:v>
                </c:pt>
                <c:pt idx="10">
                  <c:v>74299</c:v>
                </c:pt>
                <c:pt idx="11">
                  <c:v>74837</c:v>
                </c:pt>
                <c:pt idx="12">
                  <c:v>77387</c:v>
                </c:pt>
                <c:pt idx="13">
                  <c:v>86179</c:v>
                </c:pt>
                <c:pt idx="14">
                  <c:v>72955</c:v>
                </c:pt>
                <c:pt idx="15">
                  <c:v>73785</c:v>
                </c:pt>
                <c:pt idx="16">
                  <c:v>76399</c:v>
                </c:pt>
                <c:pt idx="17">
                  <c:v>88592</c:v>
                </c:pt>
                <c:pt idx="18">
                  <c:v>82075</c:v>
                </c:pt>
                <c:pt idx="19">
                  <c:v>81758</c:v>
                </c:pt>
                <c:pt idx="20">
                  <c:v>92026</c:v>
                </c:pt>
                <c:pt idx="21">
                  <c:v>87455</c:v>
                </c:pt>
                <c:pt idx="22">
                  <c:v>85973</c:v>
                </c:pt>
                <c:pt idx="23">
                  <c:v>85534</c:v>
                </c:pt>
                <c:pt idx="24">
                  <c:v>87605</c:v>
                </c:pt>
                <c:pt idx="25">
                  <c:v>84982</c:v>
                </c:pt>
                <c:pt idx="26">
                  <c:v>89332</c:v>
                </c:pt>
                <c:pt idx="27">
                  <c:v>80422</c:v>
                </c:pt>
                <c:pt idx="28">
                  <c:v>78242</c:v>
                </c:pt>
                <c:pt idx="29">
                  <c:v>83438</c:v>
                </c:pt>
                <c:pt idx="30">
                  <c:v>85315</c:v>
                </c:pt>
                <c:pt idx="31">
                  <c:v>79564</c:v>
                </c:pt>
                <c:pt idx="32">
                  <c:v>83024</c:v>
                </c:pt>
                <c:pt idx="33">
                  <c:v>83996</c:v>
                </c:pt>
                <c:pt idx="34">
                  <c:v>95633</c:v>
                </c:pt>
                <c:pt idx="35">
                  <c:v>98772</c:v>
                </c:pt>
                <c:pt idx="36">
                  <c:v>87224</c:v>
                </c:pt>
                <c:pt idx="37">
                  <c:v>83940</c:v>
                </c:pt>
                <c:pt idx="38">
                  <c:v>77500</c:v>
                </c:pt>
                <c:pt idx="39">
                  <c:v>77036</c:v>
                </c:pt>
                <c:pt idx="40">
                  <c:v>68899</c:v>
                </c:pt>
                <c:pt idx="41">
                  <c:v>73325</c:v>
                </c:pt>
                <c:pt idx="42">
                  <c:v>70397</c:v>
                </c:pt>
                <c:pt idx="43">
                  <c:v>69127</c:v>
                </c:pt>
                <c:pt idx="44">
                  <c:v>77759</c:v>
                </c:pt>
                <c:pt idx="45">
                  <c:v>72492</c:v>
                </c:pt>
                <c:pt idx="46">
                  <c:v>68645</c:v>
                </c:pt>
                <c:pt idx="47">
                  <c:v>72768</c:v>
                </c:pt>
                <c:pt idx="48">
                  <c:v>73913</c:v>
                </c:pt>
                <c:pt idx="49">
                  <c:v>54443</c:v>
                </c:pt>
                <c:pt idx="50">
                  <c:v>53301</c:v>
                </c:pt>
                <c:pt idx="51">
                  <c:v>37537</c:v>
                </c:pt>
                <c:pt idx="52">
                  <c:v>35710</c:v>
                </c:pt>
                <c:pt idx="53">
                  <c:v>38126</c:v>
                </c:pt>
                <c:pt idx="54">
                  <c:v>64526</c:v>
                </c:pt>
                <c:pt idx="55">
                  <c:v>75213</c:v>
                </c:pt>
                <c:pt idx="56">
                  <c:v>79866</c:v>
                </c:pt>
                <c:pt idx="57">
                  <c:v>88059</c:v>
                </c:pt>
                <c:pt idx="58">
                  <c:v>76929</c:v>
                </c:pt>
                <c:pt idx="59">
                  <c:v>80350</c:v>
                </c:pt>
                <c:pt idx="60">
                  <c:v>80667</c:v>
                </c:pt>
                <c:pt idx="61">
                  <c:v>76931</c:v>
                </c:pt>
                <c:pt idx="62">
                  <c:v>69718</c:v>
                </c:pt>
                <c:pt idx="63">
                  <c:v>70663</c:v>
                </c:pt>
                <c:pt idx="64">
                  <c:v>74092</c:v>
                </c:pt>
                <c:pt idx="65">
                  <c:v>75245</c:v>
                </c:pt>
                <c:pt idx="66">
                  <c:v>66806</c:v>
                </c:pt>
                <c:pt idx="67">
                  <c:v>69368</c:v>
                </c:pt>
                <c:pt idx="68">
                  <c:v>67389</c:v>
                </c:pt>
                <c:pt idx="69">
                  <c:v>71693</c:v>
                </c:pt>
                <c:pt idx="70">
                  <c:v>68955</c:v>
                </c:pt>
                <c:pt idx="71">
                  <c:v>67054</c:v>
                </c:pt>
                <c:pt idx="72">
                  <c:v>81620</c:v>
                </c:pt>
                <c:pt idx="73">
                  <c:v>88257</c:v>
                </c:pt>
                <c:pt idx="74">
                  <c:v>95224</c:v>
                </c:pt>
                <c:pt idx="75">
                  <c:v>91741</c:v>
                </c:pt>
                <c:pt idx="76">
                  <c:v>94488</c:v>
                </c:pt>
                <c:pt idx="77">
                  <c:v>93512</c:v>
                </c:pt>
                <c:pt idx="78">
                  <c:v>98903</c:v>
                </c:pt>
                <c:pt idx="79">
                  <c:v>84562</c:v>
                </c:pt>
                <c:pt idx="80">
                  <c:v>80604</c:v>
                </c:pt>
                <c:pt idx="81">
                  <c:v>75258</c:v>
                </c:pt>
                <c:pt idx="82">
                  <c:v>75132</c:v>
                </c:pt>
                <c:pt idx="83">
                  <c:v>85783</c:v>
                </c:pt>
                <c:pt idx="84">
                  <c:v>86220</c:v>
                </c:pt>
                <c:pt idx="85">
                  <c:v>86762</c:v>
                </c:pt>
                <c:pt idx="86">
                  <c:v>83347</c:v>
                </c:pt>
                <c:pt idx="87">
                  <c:v>84818</c:v>
                </c:pt>
                <c:pt idx="88">
                  <c:v>79117</c:v>
                </c:pt>
                <c:pt idx="89">
                  <c:v>81043</c:v>
                </c:pt>
                <c:pt idx="90">
                  <c:v>71722</c:v>
                </c:pt>
                <c:pt idx="91">
                  <c:v>76042</c:v>
                </c:pt>
                <c:pt idx="92">
                  <c:v>66006</c:v>
                </c:pt>
                <c:pt idx="93">
                  <c:v>63165</c:v>
                </c:pt>
                <c:pt idx="94">
                  <c:v>67202</c:v>
                </c:pt>
                <c:pt idx="95">
                  <c:v>73555</c:v>
                </c:pt>
                <c:pt idx="96">
                  <c:v>76113</c:v>
                </c:pt>
                <c:pt idx="97">
                  <c:v>71069</c:v>
                </c:pt>
                <c:pt idx="98">
                  <c:v>69944</c:v>
                </c:pt>
                <c:pt idx="99">
                  <c:v>68462</c:v>
                </c:pt>
                <c:pt idx="100">
                  <c:v>75628</c:v>
                </c:pt>
                <c:pt idx="101">
                  <c:v>72803</c:v>
                </c:pt>
                <c:pt idx="102">
                  <c:v>80857</c:v>
                </c:pt>
                <c:pt idx="103">
                  <c:v>88548</c:v>
                </c:pt>
                <c:pt idx="104">
                  <c:v>67225</c:v>
                </c:pt>
                <c:pt idx="105">
                  <c:v>63850</c:v>
                </c:pt>
                <c:pt idx="106">
                  <c:v>72422</c:v>
                </c:pt>
                <c:pt idx="107">
                  <c:v>6845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860</c:v>
                </c:pt>
                <c:pt idx="1">
                  <c:v>88870</c:v>
                </c:pt>
                <c:pt idx="2">
                  <c:v>89993</c:v>
                </c:pt>
                <c:pt idx="3">
                  <c:v>82549</c:v>
                </c:pt>
                <c:pt idx="4">
                  <c:v>80172</c:v>
                </c:pt>
                <c:pt idx="5">
                  <c:v>84528</c:v>
                </c:pt>
                <c:pt idx="6">
                  <c:v>81439</c:v>
                </c:pt>
                <c:pt idx="7">
                  <c:v>99767</c:v>
                </c:pt>
                <c:pt idx="8">
                  <c:v>92704</c:v>
                </c:pt>
                <c:pt idx="9">
                  <c:v>84138</c:v>
                </c:pt>
                <c:pt idx="10">
                  <c:v>101011</c:v>
                </c:pt>
                <c:pt idx="11">
                  <c:v>91674</c:v>
                </c:pt>
                <c:pt idx="12">
                  <c:v>86420</c:v>
                </c:pt>
                <c:pt idx="13">
                  <c:v>95317</c:v>
                </c:pt>
                <c:pt idx="14">
                  <c:v>85817</c:v>
                </c:pt>
                <c:pt idx="15">
                  <c:v>107312</c:v>
                </c:pt>
                <c:pt idx="16">
                  <c:v>89618</c:v>
                </c:pt>
                <c:pt idx="17">
                  <c:v>90595</c:v>
                </c:pt>
                <c:pt idx="18">
                  <c:v>85110</c:v>
                </c:pt>
                <c:pt idx="19">
                  <c:v>84526</c:v>
                </c:pt>
                <c:pt idx="20">
                  <c:v>95422</c:v>
                </c:pt>
                <c:pt idx="21">
                  <c:v>88458</c:v>
                </c:pt>
                <c:pt idx="22">
                  <c:v>86755</c:v>
                </c:pt>
                <c:pt idx="23">
                  <c:v>86356</c:v>
                </c:pt>
                <c:pt idx="24">
                  <c:v>88040</c:v>
                </c:pt>
                <c:pt idx="25">
                  <c:v>85653</c:v>
                </c:pt>
                <c:pt idx="26">
                  <c:v>90091</c:v>
                </c:pt>
                <c:pt idx="27">
                  <c:v>87634</c:v>
                </c:pt>
                <c:pt idx="28">
                  <c:v>101410</c:v>
                </c:pt>
                <c:pt idx="29">
                  <c:v>94234</c:v>
                </c:pt>
                <c:pt idx="30">
                  <c:v>95289</c:v>
                </c:pt>
                <c:pt idx="31">
                  <c:v>88089</c:v>
                </c:pt>
                <c:pt idx="32">
                  <c:v>91698</c:v>
                </c:pt>
                <c:pt idx="33">
                  <c:v>92562</c:v>
                </c:pt>
                <c:pt idx="34">
                  <c:v>101932</c:v>
                </c:pt>
                <c:pt idx="35">
                  <c:v>101100</c:v>
                </c:pt>
                <c:pt idx="36">
                  <c:v>88715</c:v>
                </c:pt>
                <c:pt idx="37">
                  <c:v>84946</c:v>
                </c:pt>
                <c:pt idx="38">
                  <c:v>81321</c:v>
                </c:pt>
                <c:pt idx="39">
                  <c:v>84338</c:v>
                </c:pt>
                <c:pt idx="40">
                  <c:v>110385</c:v>
                </c:pt>
                <c:pt idx="41">
                  <c:v>121385</c:v>
                </c:pt>
                <c:pt idx="42">
                  <c:v>123155</c:v>
                </c:pt>
                <c:pt idx="43">
                  <c:v>129821</c:v>
                </c:pt>
                <c:pt idx="44">
                  <c:v>141134</c:v>
                </c:pt>
                <c:pt idx="45">
                  <c:v>147998</c:v>
                </c:pt>
                <c:pt idx="46">
                  <c:v>195313</c:v>
                </c:pt>
                <c:pt idx="47">
                  <c:v>196915</c:v>
                </c:pt>
                <c:pt idx="48">
                  <c:v>243343</c:v>
                </c:pt>
                <c:pt idx="49">
                  <c:v>314514</c:v>
                </c:pt>
                <c:pt idx="50">
                  <c:v>569010</c:v>
                </c:pt>
                <c:pt idx="51">
                  <c:v>769244</c:v>
                </c:pt>
                <c:pt idx="52">
                  <c:v>103465</c:v>
                </c:pt>
                <c:pt idx="53">
                  <c:v>54051</c:v>
                </c:pt>
                <c:pt idx="54">
                  <c:v>70576</c:v>
                </c:pt>
                <c:pt idx="55">
                  <c:v>78445</c:v>
                </c:pt>
                <c:pt idx="56">
                  <c:v>81740</c:v>
                </c:pt>
                <c:pt idx="57">
                  <c:v>89765</c:v>
                </c:pt>
                <c:pt idx="58">
                  <c:v>88390</c:v>
                </c:pt>
                <c:pt idx="59">
                  <c:v>111988</c:v>
                </c:pt>
                <c:pt idx="60">
                  <c:v>100734</c:v>
                </c:pt>
                <c:pt idx="61">
                  <c:v>94734</c:v>
                </c:pt>
                <c:pt idx="62">
                  <c:v>90178</c:v>
                </c:pt>
                <c:pt idx="63">
                  <c:v>104950</c:v>
                </c:pt>
                <c:pt idx="64">
                  <c:v>93586</c:v>
                </c:pt>
                <c:pt idx="65">
                  <c:v>91596</c:v>
                </c:pt>
                <c:pt idx="66">
                  <c:v>86181</c:v>
                </c:pt>
                <c:pt idx="67">
                  <c:v>104939</c:v>
                </c:pt>
                <c:pt idx="68">
                  <c:v>85927</c:v>
                </c:pt>
                <c:pt idx="69">
                  <c:v>89077</c:v>
                </c:pt>
                <c:pt idx="70">
                  <c:v>84923</c:v>
                </c:pt>
                <c:pt idx="71">
                  <c:v>85558</c:v>
                </c:pt>
                <c:pt idx="72">
                  <c:v>101302</c:v>
                </c:pt>
                <c:pt idx="73">
                  <c:v>88355</c:v>
                </c:pt>
                <c:pt idx="74">
                  <c:v>95993</c:v>
                </c:pt>
                <c:pt idx="75">
                  <c:v>91931</c:v>
                </c:pt>
                <c:pt idx="76">
                  <c:v>94801</c:v>
                </c:pt>
                <c:pt idx="77">
                  <c:v>93643</c:v>
                </c:pt>
                <c:pt idx="78">
                  <c:v>99922</c:v>
                </c:pt>
                <c:pt idx="79">
                  <c:v>93234</c:v>
                </c:pt>
                <c:pt idx="80">
                  <c:v>97200</c:v>
                </c:pt>
                <c:pt idx="81">
                  <c:v>93239</c:v>
                </c:pt>
                <c:pt idx="82">
                  <c:v>92545</c:v>
                </c:pt>
                <c:pt idx="83">
                  <c:v>89882</c:v>
                </c:pt>
                <c:pt idx="84">
                  <c:v>89472</c:v>
                </c:pt>
                <c:pt idx="85">
                  <c:v>87474</c:v>
                </c:pt>
                <c:pt idx="86">
                  <c:v>85564</c:v>
                </c:pt>
                <c:pt idx="87">
                  <c:v>85530</c:v>
                </c:pt>
                <c:pt idx="88">
                  <c:v>79882</c:v>
                </c:pt>
                <c:pt idx="89">
                  <c:v>81799</c:v>
                </c:pt>
                <c:pt idx="90">
                  <c:v>75214</c:v>
                </c:pt>
                <c:pt idx="91">
                  <c:v>84446</c:v>
                </c:pt>
                <c:pt idx="92">
                  <c:v>85919</c:v>
                </c:pt>
                <c:pt idx="93">
                  <c:v>101387</c:v>
                </c:pt>
                <c:pt idx="94">
                  <c:v>104747</c:v>
                </c:pt>
                <c:pt idx="95">
                  <c:v>108516</c:v>
                </c:pt>
                <c:pt idx="96">
                  <c:v>120432</c:v>
                </c:pt>
                <c:pt idx="97">
                  <c:v>124607</c:v>
                </c:pt>
                <c:pt idx="98">
                  <c:v>136437</c:v>
                </c:pt>
                <c:pt idx="99">
                  <c:v>175657</c:v>
                </c:pt>
                <c:pt idx="100">
                  <c:v>193429</c:v>
                </c:pt>
                <c:pt idx="101">
                  <c:v>235585</c:v>
                </c:pt>
                <c:pt idx="102">
                  <c:v>335964</c:v>
                </c:pt>
                <c:pt idx="103">
                  <c:v>546122</c:v>
                </c:pt>
                <c:pt idx="104">
                  <c:v>76016</c:v>
                </c:pt>
                <c:pt idx="105">
                  <c:v>65916</c:v>
                </c:pt>
                <c:pt idx="106">
                  <c:v>73551</c:v>
                </c:pt>
                <c:pt idx="107">
                  <c:v>692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2916</c:v>
                </c:pt>
                <c:pt idx="1">
                  <c:v>73773</c:v>
                </c:pt>
                <c:pt idx="2">
                  <c:v>74993</c:v>
                </c:pt>
                <c:pt idx="3">
                  <c:v>75940</c:v>
                </c:pt>
                <c:pt idx="4">
                  <c:v>78055</c:v>
                </c:pt>
                <c:pt idx="5">
                  <c:v>80934</c:v>
                </c:pt>
                <c:pt idx="6">
                  <c:v>82790</c:v>
                </c:pt>
                <c:pt idx="7">
                  <c:v>85698</c:v>
                </c:pt>
                <c:pt idx="8">
                  <c:v>87707</c:v>
                </c:pt>
                <c:pt idx="9">
                  <c:v>89152</c:v>
                </c:pt>
                <c:pt idx="10">
                  <c:v>88515</c:v>
                </c:pt>
                <c:pt idx="11">
                  <c:v>89196</c:v>
                </c:pt>
                <c:pt idx="12">
                  <c:v>90359</c:v>
                </c:pt>
                <c:pt idx="13">
                  <c:v>90026</c:v>
                </c:pt>
                <c:pt idx="14">
                  <c:v>92313</c:v>
                </c:pt>
                <c:pt idx="15">
                  <c:v>90811</c:v>
                </c:pt>
                <c:pt idx="16">
                  <c:v>89718</c:v>
                </c:pt>
                <c:pt idx="17">
                  <c:v>90549</c:v>
                </c:pt>
                <c:pt idx="18">
                  <c:v>90211</c:v>
                </c:pt>
                <c:pt idx="19">
                  <c:v>90114</c:v>
                </c:pt>
                <c:pt idx="20">
                  <c:v>88221</c:v>
                </c:pt>
                <c:pt idx="21">
                  <c:v>87922</c:v>
                </c:pt>
                <c:pt idx="22">
                  <c:v>87436</c:v>
                </c:pt>
                <c:pt idx="23">
                  <c:v>88058</c:v>
                </c:pt>
                <c:pt idx="24">
                  <c:v>88429</c:v>
                </c:pt>
                <c:pt idx="25">
                  <c:v>89297</c:v>
                </c:pt>
                <c:pt idx="26">
                  <c:v>89922</c:v>
                </c:pt>
                <c:pt idx="27">
                  <c:v>90324</c:v>
                </c:pt>
                <c:pt idx="28">
                  <c:v>91072</c:v>
                </c:pt>
                <c:pt idx="29">
                  <c:v>91512</c:v>
                </c:pt>
                <c:pt idx="30">
                  <c:v>92143</c:v>
                </c:pt>
                <c:pt idx="31">
                  <c:v>93839</c:v>
                </c:pt>
                <c:pt idx="32">
                  <c:v>95076</c:v>
                </c:pt>
                <c:pt idx="33">
                  <c:v>93565</c:v>
                </c:pt>
                <c:pt idx="34">
                  <c:v>92925</c:v>
                </c:pt>
                <c:pt idx="35">
                  <c:v>91315</c:v>
                </c:pt>
                <c:pt idx="36">
                  <c:v>90812</c:v>
                </c:pt>
                <c:pt idx="37">
                  <c:v>90276</c:v>
                </c:pt>
                <c:pt idx="38">
                  <c:v>88839</c:v>
                </c:pt>
                <c:pt idx="39">
                  <c:v>85848</c:v>
                </c:pt>
                <c:pt idx="40">
                  <c:v>106570</c:v>
                </c:pt>
                <c:pt idx="41">
                  <c:v>122305</c:v>
                </c:pt>
                <c:pt idx="42">
                  <c:v>124218</c:v>
                </c:pt>
                <c:pt idx="43">
                  <c:v>129014</c:v>
                </c:pt>
                <c:pt idx="44">
                  <c:v>132841</c:v>
                </c:pt>
                <c:pt idx="45">
                  <c:v>134922</c:v>
                </c:pt>
                <c:pt idx="46">
                  <c:v>144120</c:v>
                </c:pt>
                <c:pt idx="47">
                  <c:v>145094</c:v>
                </c:pt>
                <c:pt idx="48">
                  <c:v>145976</c:v>
                </c:pt>
                <c:pt idx="49">
                  <c:v>141392</c:v>
                </c:pt>
                <c:pt idx="50">
                  <c:v>138648</c:v>
                </c:pt>
                <c:pt idx="51">
                  <c:v>153382</c:v>
                </c:pt>
                <c:pt idx="52">
                  <c:v>123602</c:v>
                </c:pt>
                <c:pt idx="53">
                  <c:v>88678</c:v>
                </c:pt>
                <c:pt idx="54">
                  <c:v>69887</c:v>
                </c:pt>
                <c:pt idx="55">
                  <c:v>66706</c:v>
                </c:pt>
                <c:pt idx="56">
                  <c:v>73687</c:v>
                </c:pt>
                <c:pt idx="57">
                  <c:v>83808</c:v>
                </c:pt>
                <c:pt idx="58">
                  <c:v>88589</c:v>
                </c:pt>
                <c:pt idx="59">
                  <c:v>91660</c:v>
                </c:pt>
                <c:pt idx="60">
                  <c:v>94014</c:v>
                </c:pt>
                <c:pt idx="61">
                  <c:v>95897</c:v>
                </c:pt>
                <c:pt idx="62">
                  <c:v>95765</c:v>
                </c:pt>
                <c:pt idx="63">
                  <c:v>95859</c:v>
                </c:pt>
                <c:pt idx="64">
                  <c:v>94609</c:v>
                </c:pt>
                <c:pt idx="65">
                  <c:v>93093</c:v>
                </c:pt>
                <c:pt idx="66">
                  <c:v>92435</c:v>
                </c:pt>
                <c:pt idx="67">
                  <c:v>92082</c:v>
                </c:pt>
                <c:pt idx="68">
                  <c:v>89763</c:v>
                </c:pt>
                <c:pt idx="69">
                  <c:v>90270</c:v>
                </c:pt>
                <c:pt idx="70">
                  <c:v>90301</c:v>
                </c:pt>
                <c:pt idx="71">
                  <c:v>91184</c:v>
                </c:pt>
                <c:pt idx="72">
                  <c:v>90882</c:v>
                </c:pt>
                <c:pt idx="73">
                  <c:v>91456</c:v>
                </c:pt>
                <c:pt idx="74">
                  <c:v>91987</c:v>
                </c:pt>
                <c:pt idx="75">
                  <c:v>93885</c:v>
                </c:pt>
                <c:pt idx="76">
                  <c:v>94736</c:v>
                </c:pt>
                <c:pt idx="77">
                  <c:v>94266</c:v>
                </c:pt>
                <c:pt idx="78">
                  <c:v>94862</c:v>
                </c:pt>
                <c:pt idx="79">
                  <c:v>94513</c:v>
                </c:pt>
                <c:pt idx="80">
                  <c:v>94194</c:v>
                </c:pt>
                <c:pt idx="81">
                  <c:v>93049</c:v>
                </c:pt>
                <c:pt idx="82">
                  <c:v>92693</c:v>
                </c:pt>
                <c:pt idx="83">
                  <c:v>90902</c:v>
                </c:pt>
                <c:pt idx="84">
                  <c:v>90034</c:v>
                </c:pt>
                <c:pt idx="85">
                  <c:v>87988</c:v>
                </c:pt>
                <c:pt idx="86">
                  <c:v>86513</c:v>
                </c:pt>
                <c:pt idx="87">
                  <c:v>84411</c:v>
                </c:pt>
                <c:pt idx="88">
                  <c:v>83823</c:v>
                </c:pt>
                <c:pt idx="89">
                  <c:v>82499</c:v>
                </c:pt>
                <c:pt idx="90">
                  <c:v>81417</c:v>
                </c:pt>
                <c:pt idx="91">
                  <c:v>80312</c:v>
                </c:pt>
                <c:pt idx="92">
                  <c:v>84233</c:v>
                </c:pt>
                <c:pt idx="93">
                  <c:v>100303</c:v>
                </c:pt>
                <c:pt idx="94">
                  <c:v>105735</c:v>
                </c:pt>
                <c:pt idx="95">
                  <c:v>111155</c:v>
                </c:pt>
                <c:pt idx="96">
                  <c:v>118652</c:v>
                </c:pt>
                <c:pt idx="97">
                  <c:v>126601</c:v>
                </c:pt>
                <c:pt idx="98">
                  <c:v>136682</c:v>
                </c:pt>
                <c:pt idx="99">
                  <c:v>137767</c:v>
                </c:pt>
                <c:pt idx="100">
                  <c:v>139086</c:v>
                </c:pt>
                <c:pt idx="101">
                  <c:v>138252</c:v>
                </c:pt>
                <c:pt idx="102">
                  <c:v>137779</c:v>
                </c:pt>
                <c:pt idx="103">
                  <c:v>138303</c:v>
                </c:pt>
                <c:pt idx="104">
                  <c:v>93067</c:v>
                </c:pt>
                <c:pt idx="105">
                  <c:v>76560</c:v>
                </c:pt>
                <c:pt idx="106">
                  <c:v>75334</c:v>
                </c:pt>
                <c:pt idx="107">
                  <c:v>7383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4</c:v>
                </c:pt>
                <c:pt idx="4">
                  <c:v>0.25</c:v>
                </c:pt>
                <c:pt idx="5">
                  <c:v>0.2</c:v>
                </c:pt>
                <c:pt idx="6">
                  <c:v>0.21</c:v>
                </c:pt>
                <c:pt idx="7">
                  <c:v>0.36</c:v>
                </c:pt>
                <c:pt idx="8">
                  <c:v>0.16</c:v>
                </c:pt>
                <c:pt idx="9">
                  <c:v>0.18</c:v>
                </c:pt>
                <c:pt idx="10">
                  <c:v>0.31</c:v>
                </c:pt>
                <c:pt idx="11">
                  <c:v>0.21</c:v>
                </c:pt>
                <c:pt idx="12">
                  <c:v>0.13</c:v>
                </c:pt>
                <c:pt idx="13">
                  <c:v>0.11</c:v>
                </c:pt>
                <c:pt idx="14">
                  <c:v>0.18</c:v>
                </c:pt>
                <c:pt idx="15">
                  <c:v>0.36</c:v>
                </c:pt>
                <c:pt idx="16">
                  <c:v>0.18</c:v>
                </c:pt>
                <c:pt idx="17">
                  <c:v>0.04</c:v>
                </c:pt>
                <c:pt idx="18">
                  <c:v>0.06</c:v>
                </c:pt>
                <c:pt idx="19">
                  <c:v>0.05</c:v>
                </c:pt>
                <c:pt idx="20">
                  <c:v>0.09</c:v>
                </c:pt>
                <c:pt idx="21">
                  <c:v>0.02</c:v>
                </c:pt>
                <c:pt idx="22">
                  <c:v>0.01</c:v>
                </c:pt>
                <c:pt idx="23">
                  <c:v>0.02</c:v>
                </c:pt>
                <c:pt idx="24">
                  <c:v>0.01</c:v>
                </c:pt>
                <c:pt idx="25">
                  <c:v>0.01</c:v>
                </c:pt>
                <c:pt idx="26">
                  <c:v>0.01</c:v>
                </c:pt>
                <c:pt idx="27">
                  <c:v>0.09</c:v>
                </c:pt>
                <c:pt idx="28">
                  <c:v>0.26</c:v>
                </c:pt>
                <c:pt idx="29">
                  <c:v>0.15</c:v>
                </c:pt>
                <c:pt idx="30">
                  <c:v>0.12</c:v>
                </c:pt>
                <c:pt idx="31">
                  <c:v>0.11</c:v>
                </c:pt>
                <c:pt idx="32">
                  <c:v>0.11</c:v>
                </c:pt>
                <c:pt idx="33">
                  <c:v>0.1</c:v>
                </c:pt>
                <c:pt idx="34">
                  <c:v>0.08</c:v>
                </c:pt>
                <c:pt idx="35">
                  <c:v>0.02</c:v>
                </c:pt>
                <c:pt idx="36">
                  <c:v>0.02</c:v>
                </c:pt>
                <c:pt idx="37">
                  <c:v>0.01</c:v>
                </c:pt>
                <c:pt idx="38">
                  <c:v>0.05</c:v>
                </c:pt>
                <c:pt idx="39">
                  <c:v>0.09</c:v>
                </c:pt>
                <c:pt idx="40">
                  <c:v>0.43</c:v>
                </c:pt>
                <c:pt idx="41">
                  <c:v>0.46</c:v>
                </c:pt>
                <c:pt idx="42">
                  <c:v>0.49</c:v>
                </c:pt>
                <c:pt idx="43">
                  <c:v>0.53</c:v>
                </c:pt>
                <c:pt idx="44">
                  <c:v>0.51</c:v>
                </c:pt>
                <c:pt idx="45">
                  <c:v>0.56999999999999995</c:v>
                </c:pt>
                <c:pt idx="46">
                  <c:v>0.7</c:v>
                </c:pt>
                <c:pt idx="47">
                  <c:v>0.68</c:v>
                </c:pt>
                <c:pt idx="48">
                  <c:v>0.73</c:v>
                </c:pt>
                <c:pt idx="49">
                  <c:v>0.86</c:v>
                </c:pt>
                <c:pt idx="50">
                  <c:v>0.91</c:v>
                </c:pt>
                <c:pt idx="51">
                  <c:v>0.97</c:v>
                </c:pt>
                <c:pt idx="52">
                  <c:v>0.77</c:v>
                </c:pt>
                <c:pt idx="53">
                  <c:v>0.39</c:v>
                </c:pt>
                <c:pt idx="54">
                  <c:v>0.14000000000000001</c:v>
                </c:pt>
                <c:pt idx="55">
                  <c:v>0.08</c:v>
                </c:pt>
                <c:pt idx="56">
                  <c:v>0.04</c:v>
                </c:pt>
                <c:pt idx="57">
                  <c:v>0.03</c:v>
                </c:pt>
                <c:pt idx="58">
                  <c:v>0.15</c:v>
                </c:pt>
                <c:pt idx="59">
                  <c:v>0.34</c:v>
                </c:pt>
                <c:pt idx="60">
                  <c:v>0.23</c:v>
                </c:pt>
                <c:pt idx="61">
                  <c:v>0.22</c:v>
                </c:pt>
                <c:pt idx="62">
                  <c:v>0.24</c:v>
                </c:pt>
                <c:pt idx="63">
                  <c:v>0.39</c:v>
                </c:pt>
                <c:pt idx="64">
                  <c:v>0.22</c:v>
                </c:pt>
                <c:pt idx="65">
                  <c:v>0.22</c:v>
                </c:pt>
                <c:pt idx="66">
                  <c:v>0.25</c:v>
                </c:pt>
                <c:pt idx="67">
                  <c:v>0.37</c:v>
                </c:pt>
                <c:pt idx="68">
                  <c:v>0.24</c:v>
                </c:pt>
                <c:pt idx="69">
                  <c:v>0.21</c:v>
                </c:pt>
                <c:pt idx="70">
                  <c:v>0.21</c:v>
                </c:pt>
                <c:pt idx="71">
                  <c:v>0.24</c:v>
                </c:pt>
                <c:pt idx="72">
                  <c:v>0.23</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2</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684</c:v>
                </c:pt>
                <c:pt idx="1">
                  <c:v>12860</c:v>
                </c:pt>
                <c:pt idx="2">
                  <c:v>8507</c:v>
                </c:pt>
                <c:pt idx="3">
                  <c:v>4909</c:v>
                </c:pt>
                <c:pt idx="4">
                  <c:v>2850</c:v>
                </c:pt>
                <c:pt idx="5">
                  <c:v>18860</c:v>
                </c:pt>
                <c:pt idx="6">
                  <c:v>25667</c:v>
                </c:pt>
                <c:pt idx="7">
                  <c:v>29408</c:v>
                </c:pt>
                <c:pt idx="8">
                  <c:v>22129</c:v>
                </c:pt>
                <c:pt idx="9">
                  <c:v>22866</c:v>
                </c:pt>
                <c:pt idx="10">
                  <c:v>25188</c:v>
                </c:pt>
                <c:pt idx="11">
                  <c:v>23703</c:v>
                </c:pt>
                <c:pt idx="12">
                  <c:v>20699</c:v>
                </c:pt>
                <c:pt idx="13">
                  <c:v>21900</c:v>
                </c:pt>
                <c:pt idx="14">
                  <c:v>21580</c:v>
                </c:pt>
                <c:pt idx="15">
                  <c:v>27644</c:v>
                </c:pt>
                <c:pt idx="16">
                  <c:v>16636</c:v>
                </c:pt>
                <c:pt idx="17">
                  <c:v>5147</c:v>
                </c:pt>
                <c:pt idx="18">
                  <c:v>490</c:v>
                </c:pt>
                <c:pt idx="19">
                  <c:v>269</c:v>
                </c:pt>
                <c:pt idx="20">
                  <c:v>687</c:v>
                </c:pt>
                <c:pt idx="21">
                  <c:v>592</c:v>
                </c:pt>
                <c:pt idx="22">
                  <c:v>434</c:v>
                </c:pt>
                <c:pt idx="23">
                  <c:v>596</c:v>
                </c:pt>
                <c:pt idx="24">
                  <c:v>780</c:v>
                </c:pt>
                <c:pt idx="25">
                  <c:v>582</c:v>
                </c:pt>
                <c:pt idx="26">
                  <c:v>511</c:v>
                </c:pt>
                <c:pt idx="27">
                  <c:v>17183</c:v>
                </c:pt>
                <c:pt idx="28">
                  <c:v>35408</c:v>
                </c:pt>
                <c:pt idx="29">
                  <c:v>22363</c:v>
                </c:pt>
                <c:pt idx="30">
                  <c:v>26452</c:v>
                </c:pt>
                <c:pt idx="31">
                  <c:v>29915</c:v>
                </c:pt>
                <c:pt idx="32">
                  <c:v>25549</c:v>
                </c:pt>
                <c:pt idx="33">
                  <c:v>31956</c:v>
                </c:pt>
                <c:pt idx="34">
                  <c:v>38419</c:v>
                </c:pt>
                <c:pt idx="35">
                  <c:v>14298</c:v>
                </c:pt>
                <c:pt idx="36">
                  <c:v>1211</c:v>
                </c:pt>
                <c:pt idx="37">
                  <c:v>437</c:v>
                </c:pt>
                <c:pt idx="38">
                  <c:v>10602</c:v>
                </c:pt>
                <c:pt idx="39">
                  <c:v>20341</c:v>
                </c:pt>
                <c:pt idx="40">
                  <c:v>29178</c:v>
                </c:pt>
                <c:pt idx="41">
                  <c:v>38051</c:v>
                </c:pt>
                <c:pt idx="42">
                  <c:v>30471</c:v>
                </c:pt>
                <c:pt idx="43">
                  <c:v>25339</c:v>
                </c:pt>
                <c:pt idx="44">
                  <c:v>1958</c:v>
                </c:pt>
                <c:pt idx="45">
                  <c:v>161</c:v>
                </c:pt>
                <c:pt idx="46">
                  <c:v>752</c:v>
                </c:pt>
                <c:pt idx="47">
                  <c:v>598</c:v>
                </c:pt>
                <c:pt idx="48">
                  <c:v>902</c:v>
                </c:pt>
                <c:pt idx="49">
                  <c:v>17948</c:v>
                </c:pt>
                <c:pt idx="50">
                  <c:v>20980</c:v>
                </c:pt>
                <c:pt idx="51">
                  <c:v>12217</c:v>
                </c:pt>
                <c:pt idx="52">
                  <c:v>9795</c:v>
                </c:pt>
                <c:pt idx="53">
                  <c:v>27154</c:v>
                </c:pt>
                <c:pt idx="54">
                  <c:v>17207</c:v>
                </c:pt>
                <c:pt idx="55">
                  <c:v>9991</c:v>
                </c:pt>
                <c:pt idx="56">
                  <c:v>39016</c:v>
                </c:pt>
                <c:pt idx="57">
                  <c:v>71252</c:v>
                </c:pt>
                <c:pt idx="58">
                  <c:v>75208</c:v>
                </c:pt>
                <c:pt idx="59">
                  <c:v>109719</c:v>
                </c:pt>
                <c:pt idx="60">
                  <c:v>104355</c:v>
                </c:pt>
                <c:pt idx="61">
                  <c:v>96987</c:v>
                </c:pt>
                <c:pt idx="62">
                  <c:v>73503</c:v>
                </c:pt>
                <c:pt idx="63">
                  <c:v>42734</c:v>
                </c:pt>
                <c:pt idx="64">
                  <c:v>41256</c:v>
                </c:pt>
                <c:pt idx="65">
                  <c:v>42551</c:v>
                </c:pt>
                <c:pt idx="66">
                  <c:v>39194</c:v>
                </c:pt>
                <c:pt idx="67">
                  <c:v>35968</c:v>
                </c:pt>
                <c:pt idx="68">
                  <c:v>32936</c:v>
                </c:pt>
                <c:pt idx="69">
                  <c:v>35267</c:v>
                </c:pt>
                <c:pt idx="70">
                  <c:v>34150</c:v>
                </c:pt>
                <c:pt idx="71">
                  <c:v>30481</c:v>
                </c:pt>
                <c:pt idx="72">
                  <c:v>15534</c:v>
                </c:pt>
                <c:pt idx="73">
                  <c:v>419</c:v>
                </c:pt>
                <c:pt idx="74">
                  <c:v>269</c:v>
                </c:pt>
                <c:pt idx="75">
                  <c:v>403</c:v>
                </c:pt>
                <c:pt idx="76">
                  <c:v>1364</c:v>
                </c:pt>
                <c:pt idx="77">
                  <c:v>324</c:v>
                </c:pt>
                <c:pt idx="78">
                  <c:v>478</c:v>
                </c:pt>
                <c:pt idx="79">
                  <c:v>18970</c:v>
                </c:pt>
                <c:pt idx="80">
                  <c:v>35509</c:v>
                </c:pt>
                <c:pt idx="81">
                  <c:v>35614</c:v>
                </c:pt>
                <c:pt idx="82">
                  <c:v>34523</c:v>
                </c:pt>
                <c:pt idx="83">
                  <c:v>10296</c:v>
                </c:pt>
                <c:pt idx="84">
                  <c:v>8547</c:v>
                </c:pt>
                <c:pt idx="85">
                  <c:v>172</c:v>
                </c:pt>
                <c:pt idx="86">
                  <c:v>5721</c:v>
                </c:pt>
                <c:pt idx="87">
                  <c:v>375</c:v>
                </c:pt>
                <c:pt idx="88">
                  <c:v>396</c:v>
                </c:pt>
                <c:pt idx="89">
                  <c:v>288</c:v>
                </c:pt>
                <c:pt idx="90">
                  <c:v>10001</c:v>
                </c:pt>
                <c:pt idx="91">
                  <c:v>21579</c:v>
                </c:pt>
                <c:pt idx="92">
                  <c:v>34615</c:v>
                </c:pt>
                <c:pt idx="93">
                  <c:v>44086</c:v>
                </c:pt>
                <c:pt idx="94">
                  <c:v>20848</c:v>
                </c:pt>
                <c:pt idx="95">
                  <c:v>260</c:v>
                </c:pt>
                <c:pt idx="96">
                  <c:v>401</c:v>
                </c:pt>
                <c:pt idx="97">
                  <c:v>50325</c:v>
                </c:pt>
                <c:pt idx="98">
                  <c:v>158964</c:v>
                </c:pt>
                <c:pt idx="99">
                  <c:v>153082</c:v>
                </c:pt>
                <c:pt idx="100">
                  <c:v>168880</c:v>
                </c:pt>
                <c:pt idx="101">
                  <c:v>171964</c:v>
                </c:pt>
                <c:pt idx="102">
                  <c:v>187098</c:v>
                </c:pt>
                <c:pt idx="103">
                  <c:v>158434</c:v>
                </c:pt>
                <c:pt idx="104">
                  <c:v>164477</c:v>
                </c:pt>
                <c:pt idx="105">
                  <c:v>150502</c:v>
                </c:pt>
                <c:pt idx="106">
                  <c:v>15008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324</c:v>
                </c:pt>
                <c:pt idx="1">
                  <c:v>206980</c:v>
                </c:pt>
                <c:pt idx="2">
                  <c:v>210870</c:v>
                </c:pt>
                <c:pt idx="3">
                  <c:v>208312</c:v>
                </c:pt>
                <c:pt idx="4">
                  <c:v>217913</c:v>
                </c:pt>
                <c:pt idx="5">
                  <c:v>208398</c:v>
                </c:pt>
                <c:pt idx="6">
                  <c:v>198649</c:v>
                </c:pt>
                <c:pt idx="7">
                  <c:v>212172</c:v>
                </c:pt>
                <c:pt idx="8">
                  <c:v>224857</c:v>
                </c:pt>
                <c:pt idx="9">
                  <c:v>208601</c:v>
                </c:pt>
                <c:pt idx="10">
                  <c:v>207664</c:v>
                </c:pt>
                <c:pt idx="11">
                  <c:v>207118</c:v>
                </c:pt>
                <c:pt idx="12">
                  <c:v>201372</c:v>
                </c:pt>
                <c:pt idx="13">
                  <c:v>221116</c:v>
                </c:pt>
                <c:pt idx="14">
                  <c:v>194912</c:v>
                </c:pt>
                <c:pt idx="15">
                  <c:v>200841</c:v>
                </c:pt>
                <c:pt idx="16">
                  <c:v>201935</c:v>
                </c:pt>
                <c:pt idx="17">
                  <c:v>225201</c:v>
                </c:pt>
                <c:pt idx="18">
                  <c:v>214142</c:v>
                </c:pt>
                <c:pt idx="19">
                  <c:v>210202</c:v>
                </c:pt>
                <c:pt idx="20">
                  <c:v>228052</c:v>
                </c:pt>
                <c:pt idx="21">
                  <c:v>236326</c:v>
                </c:pt>
                <c:pt idx="22">
                  <c:v>235924</c:v>
                </c:pt>
                <c:pt idx="23">
                  <c:v>227681</c:v>
                </c:pt>
                <c:pt idx="24">
                  <c:v>223439</c:v>
                </c:pt>
                <c:pt idx="25">
                  <c:v>229582</c:v>
                </c:pt>
                <c:pt idx="26">
                  <c:v>237065</c:v>
                </c:pt>
                <c:pt idx="27">
                  <c:v>216983</c:v>
                </c:pt>
                <c:pt idx="28">
                  <c:v>215634</c:v>
                </c:pt>
                <c:pt idx="29">
                  <c:v>216584</c:v>
                </c:pt>
                <c:pt idx="30">
                  <c:v>228684</c:v>
                </c:pt>
                <c:pt idx="31">
                  <c:v>209965</c:v>
                </c:pt>
                <c:pt idx="32">
                  <c:v>215659</c:v>
                </c:pt>
                <c:pt idx="33">
                  <c:v>200475</c:v>
                </c:pt>
                <c:pt idx="34">
                  <c:v>199279</c:v>
                </c:pt>
                <c:pt idx="35">
                  <c:v>213055</c:v>
                </c:pt>
                <c:pt idx="36">
                  <c:v>216248</c:v>
                </c:pt>
                <c:pt idx="37">
                  <c:v>211644</c:v>
                </c:pt>
                <c:pt idx="38">
                  <c:v>206041</c:v>
                </c:pt>
                <c:pt idx="39">
                  <c:v>207307</c:v>
                </c:pt>
                <c:pt idx="40">
                  <c:v>181139</c:v>
                </c:pt>
                <c:pt idx="41">
                  <c:v>175749</c:v>
                </c:pt>
                <c:pt idx="42">
                  <c:v>179873</c:v>
                </c:pt>
                <c:pt idx="43">
                  <c:v>190074</c:v>
                </c:pt>
                <c:pt idx="44">
                  <c:v>207367</c:v>
                </c:pt>
                <c:pt idx="45">
                  <c:v>207046</c:v>
                </c:pt>
                <c:pt idx="46">
                  <c:v>192466</c:v>
                </c:pt>
                <c:pt idx="47">
                  <c:v>200396</c:v>
                </c:pt>
                <c:pt idx="48">
                  <c:v>211523</c:v>
                </c:pt>
                <c:pt idx="49">
                  <c:v>201875</c:v>
                </c:pt>
                <c:pt idx="50">
                  <c:v>210035</c:v>
                </c:pt>
                <c:pt idx="51">
                  <c:v>145809</c:v>
                </c:pt>
                <c:pt idx="52">
                  <c:v>164266</c:v>
                </c:pt>
                <c:pt idx="53">
                  <c:v>152439</c:v>
                </c:pt>
                <c:pt idx="54">
                  <c:v>165187</c:v>
                </c:pt>
                <c:pt idx="55">
                  <c:v>181576</c:v>
                </c:pt>
                <c:pt idx="56">
                  <c:v>159485</c:v>
                </c:pt>
                <c:pt idx="57">
                  <c:v>128490</c:v>
                </c:pt>
                <c:pt idx="58">
                  <c:v>111646</c:v>
                </c:pt>
                <c:pt idx="59">
                  <c:v>104764</c:v>
                </c:pt>
                <c:pt idx="60">
                  <c:v>101216</c:v>
                </c:pt>
                <c:pt idx="61">
                  <c:v>102847</c:v>
                </c:pt>
                <c:pt idx="62">
                  <c:v>116494</c:v>
                </c:pt>
                <c:pt idx="63">
                  <c:v>141978</c:v>
                </c:pt>
                <c:pt idx="64">
                  <c:v>141522</c:v>
                </c:pt>
                <c:pt idx="65">
                  <c:v>143706</c:v>
                </c:pt>
                <c:pt idx="66">
                  <c:v>140213</c:v>
                </c:pt>
                <c:pt idx="67">
                  <c:v>136391</c:v>
                </c:pt>
                <c:pt idx="68">
                  <c:v>137362</c:v>
                </c:pt>
                <c:pt idx="69">
                  <c:v>143832</c:v>
                </c:pt>
                <c:pt idx="70">
                  <c:v>141620</c:v>
                </c:pt>
                <c:pt idx="71">
                  <c:v>136668</c:v>
                </c:pt>
                <c:pt idx="72">
                  <c:v>161515</c:v>
                </c:pt>
                <c:pt idx="73">
                  <c:v>170330</c:v>
                </c:pt>
                <c:pt idx="74">
                  <c:v>180887</c:v>
                </c:pt>
                <c:pt idx="75">
                  <c:v>172424</c:v>
                </c:pt>
                <c:pt idx="76">
                  <c:v>168385</c:v>
                </c:pt>
                <c:pt idx="77">
                  <c:v>169170</c:v>
                </c:pt>
                <c:pt idx="78">
                  <c:v>186720</c:v>
                </c:pt>
                <c:pt idx="79">
                  <c:v>153894</c:v>
                </c:pt>
                <c:pt idx="80">
                  <c:v>145098</c:v>
                </c:pt>
                <c:pt idx="81">
                  <c:v>138655</c:v>
                </c:pt>
                <c:pt idx="82">
                  <c:v>147708</c:v>
                </c:pt>
                <c:pt idx="83">
                  <c:v>166654</c:v>
                </c:pt>
                <c:pt idx="84">
                  <c:v>164718</c:v>
                </c:pt>
                <c:pt idx="85">
                  <c:v>170853</c:v>
                </c:pt>
                <c:pt idx="86">
                  <c:v>163985</c:v>
                </c:pt>
                <c:pt idx="87">
                  <c:v>173548</c:v>
                </c:pt>
                <c:pt idx="88">
                  <c:v>161729</c:v>
                </c:pt>
                <c:pt idx="89">
                  <c:v>163259</c:v>
                </c:pt>
                <c:pt idx="90">
                  <c:v>152044</c:v>
                </c:pt>
                <c:pt idx="91">
                  <c:v>168393</c:v>
                </c:pt>
                <c:pt idx="92">
                  <c:v>138092</c:v>
                </c:pt>
                <c:pt idx="93">
                  <c:v>131591</c:v>
                </c:pt>
                <c:pt idx="94">
                  <c:v>146217</c:v>
                </c:pt>
                <c:pt idx="95">
                  <c:v>163238</c:v>
                </c:pt>
                <c:pt idx="96">
                  <c:v>173658</c:v>
                </c:pt>
                <c:pt idx="97">
                  <c:v>118275</c:v>
                </c:pt>
                <c:pt idx="98">
                  <c:v>3789</c:v>
                </c:pt>
                <c:pt idx="99">
                  <c:v>2660</c:v>
                </c:pt>
                <c:pt idx="100">
                  <c:v>3275</c:v>
                </c:pt>
                <c:pt idx="101">
                  <c:v>2026</c:v>
                </c:pt>
                <c:pt idx="102">
                  <c:v>1351</c:v>
                </c:pt>
                <c:pt idx="103">
                  <c:v>1427</c:v>
                </c:pt>
                <c:pt idx="104">
                  <c:v>2291</c:v>
                </c:pt>
                <c:pt idx="105">
                  <c:v>4092</c:v>
                </c:pt>
                <c:pt idx="106">
                  <c:v>8143</c:v>
                </c:pt>
                <c:pt idx="107">
                  <c:v>1133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7008</c:v>
                </c:pt>
                <c:pt idx="1">
                  <c:v>219840</c:v>
                </c:pt>
                <c:pt idx="2">
                  <c:v>219377</c:v>
                </c:pt>
                <c:pt idx="3">
                  <c:v>213221</c:v>
                </c:pt>
                <c:pt idx="4">
                  <c:v>220763</c:v>
                </c:pt>
                <c:pt idx="5">
                  <c:v>227258</c:v>
                </c:pt>
                <c:pt idx="6">
                  <c:v>224316</c:v>
                </c:pt>
                <c:pt idx="7">
                  <c:v>241580</c:v>
                </c:pt>
                <c:pt idx="8">
                  <c:v>246986</c:v>
                </c:pt>
                <c:pt idx="9">
                  <c:v>231467</c:v>
                </c:pt>
                <c:pt idx="10">
                  <c:v>232852</c:v>
                </c:pt>
                <c:pt idx="11">
                  <c:v>230821</c:v>
                </c:pt>
                <c:pt idx="12">
                  <c:v>222071</c:v>
                </c:pt>
                <c:pt idx="13">
                  <c:v>243016</c:v>
                </c:pt>
                <c:pt idx="14">
                  <c:v>216492</c:v>
                </c:pt>
                <c:pt idx="15">
                  <c:v>228485</c:v>
                </c:pt>
                <c:pt idx="16">
                  <c:v>218571</c:v>
                </c:pt>
                <c:pt idx="17">
                  <c:v>230348</c:v>
                </c:pt>
                <c:pt idx="18">
                  <c:v>214632</c:v>
                </c:pt>
                <c:pt idx="19">
                  <c:v>210471</c:v>
                </c:pt>
                <c:pt idx="20">
                  <c:v>228739</c:v>
                </c:pt>
                <c:pt idx="21">
                  <c:v>236918</c:v>
                </c:pt>
                <c:pt idx="22">
                  <c:v>236358</c:v>
                </c:pt>
                <c:pt idx="23">
                  <c:v>228277</c:v>
                </c:pt>
                <c:pt idx="24">
                  <c:v>224219</c:v>
                </c:pt>
                <c:pt idx="25">
                  <c:v>230164</c:v>
                </c:pt>
                <c:pt idx="26">
                  <c:v>237576</c:v>
                </c:pt>
                <c:pt idx="27">
                  <c:v>234166</c:v>
                </c:pt>
                <c:pt idx="28">
                  <c:v>251042</c:v>
                </c:pt>
                <c:pt idx="29">
                  <c:v>238947</c:v>
                </c:pt>
                <c:pt idx="30">
                  <c:v>255136</c:v>
                </c:pt>
                <c:pt idx="31">
                  <c:v>239880</c:v>
                </c:pt>
                <c:pt idx="32">
                  <c:v>241208</c:v>
                </c:pt>
                <c:pt idx="33">
                  <c:v>232431</c:v>
                </c:pt>
                <c:pt idx="34">
                  <c:v>237698</c:v>
                </c:pt>
                <c:pt idx="35">
                  <c:v>227353</c:v>
                </c:pt>
                <c:pt idx="36">
                  <c:v>217459</c:v>
                </c:pt>
                <c:pt idx="37">
                  <c:v>212081</c:v>
                </c:pt>
                <c:pt idx="38">
                  <c:v>216643</c:v>
                </c:pt>
                <c:pt idx="39">
                  <c:v>227648</c:v>
                </c:pt>
                <c:pt idx="40">
                  <c:v>210317</c:v>
                </c:pt>
                <c:pt idx="41">
                  <c:v>213800</c:v>
                </c:pt>
                <c:pt idx="42">
                  <c:v>210344</c:v>
                </c:pt>
                <c:pt idx="43">
                  <c:v>215413</c:v>
                </c:pt>
                <c:pt idx="44">
                  <c:v>209325</c:v>
                </c:pt>
                <c:pt idx="45">
                  <c:v>207207</c:v>
                </c:pt>
                <c:pt idx="46">
                  <c:v>193218</c:v>
                </c:pt>
                <c:pt idx="47">
                  <c:v>200994</c:v>
                </c:pt>
                <c:pt idx="48">
                  <c:v>212425</c:v>
                </c:pt>
                <c:pt idx="49">
                  <c:v>219823</c:v>
                </c:pt>
                <c:pt idx="50">
                  <c:v>231015</c:v>
                </c:pt>
                <c:pt idx="51">
                  <c:v>158026</c:v>
                </c:pt>
                <c:pt idx="52">
                  <c:v>174061</c:v>
                </c:pt>
                <c:pt idx="53">
                  <c:v>179593</c:v>
                </c:pt>
                <c:pt idx="54">
                  <c:v>182394</c:v>
                </c:pt>
                <c:pt idx="55">
                  <c:v>191567</c:v>
                </c:pt>
                <c:pt idx="56">
                  <c:v>198501</c:v>
                </c:pt>
                <c:pt idx="57">
                  <c:v>199742</c:v>
                </c:pt>
                <c:pt idx="58">
                  <c:v>186854</c:v>
                </c:pt>
                <c:pt idx="59">
                  <c:v>214483</c:v>
                </c:pt>
                <c:pt idx="60">
                  <c:v>205571</c:v>
                </c:pt>
                <c:pt idx="61">
                  <c:v>199834</c:v>
                </c:pt>
                <c:pt idx="62">
                  <c:v>189997</c:v>
                </c:pt>
                <c:pt idx="63">
                  <c:v>184712</c:v>
                </c:pt>
                <c:pt idx="64">
                  <c:v>182778</c:v>
                </c:pt>
                <c:pt idx="65">
                  <c:v>186257</c:v>
                </c:pt>
                <c:pt idx="66">
                  <c:v>179407</c:v>
                </c:pt>
                <c:pt idx="67">
                  <c:v>172359</c:v>
                </c:pt>
                <c:pt idx="68">
                  <c:v>170298</c:v>
                </c:pt>
                <c:pt idx="69">
                  <c:v>179099</c:v>
                </c:pt>
                <c:pt idx="70">
                  <c:v>175770</c:v>
                </c:pt>
                <c:pt idx="71">
                  <c:v>167149</c:v>
                </c:pt>
                <c:pt idx="72">
                  <c:v>177049</c:v>
                </c:pt>
                <c:pt idx="73">
                  <c:v>170749</c:v>
                </c:pt>
                <c:pt idx="74">
                  <c:v>181156</c:v>
                </c:pt>
                <c:pt idx="75">
                  <c:v>172827</c:v>
                </c:pt>
                <c:pt idx="76">
                  <c:v>169749</c:v>
                </c:pt>
                <c:pt idx="77">
                  <c:v>169494</c:v>
                </c:pt>
                <c:pt idx="78">
                  <c:v>187198</c:v>
                </c:pt>
                <c:pt idx="79">
                  <c:v>172864</c:v>
                </c:pt>
                <c:pt idx="80">
                  <c:v>180607</c:v>
                </c:pt>
                <c:pt idx="81">
                  <c:v>174269</c:v>
                </c:pt>
                <c:pt idx="82">
                  <c:v>182231</c:v>
                </c:pt>
                <c:pt idx="83">
                  <c:v>176950</c:v>
                </c:pt>
                <c:pt idx="84">
                  <c:v>173265</c:v>
                </c:pt>
                <c:pt idx="85">
                  <c:v>171025</c:v>
                </c:pt>
                <c:pt idx="86">
                  <c:v>169706</c:v>
                </c:pt>
                <c:pt idx="87">
                  <c:v>173923</c:v>
                </c:pt>
                <c:pt idx="88">
                  <c:v>162125</c:v>
                </c:pt>
                <c:pt idx="89">
                  <c:v>163547</c:v>
                </c:pt>
                <c:pt idx="90">
                  <c:v>162045</c:v>
                </c:pt>
                <c:pt idx="91">
                  <c:v>189972</c:v>
                </c:pt>
                <c:pt idx="92">
                  <c:v>172707</c:v>
                </c:pt>
                <c:pt idx="93">
                  <c:v>175677</c:v>
                </c:pt>
                <c:pt idx="94">
                  <c:v>167065</c:v>
                </c:pt>
                <c:pt idx="95">
                  <c:v>163498</c:v>
                </c:pt>
                <c:pt idx="96">
                  <c:v>174059</c:v>
                </c:pt>
                <c:pt idx="97">
                  <c:v>168600</c:v>
                </c:pt>
                <c:pt idx="98">
                  <c:v>162753</c:v>
                </c:pt>
                <c:pt idx="99">
                  <c:v>155742</c:v>
                </c:pt>
                <c:pt idx="100">
                  <c:v>172155</c:v>
                </c:pt>
                <c:pt idx="101">
                  <c:v>173990</c:v>
                </c:pt>
                <c:pt idx="102">
                  <c:v>188449</c:v>
                </c:pt>
                <c:pt idx="103">
                  <c:v>159861</c:v>
                </c:pt>
                <c:pt idx="104">
                  <c:v>166768</c:v>
                </c:pt>
                <c:pt idx="105">
                  <c:v>154594</c:v>
                </c:pt>
                <c:pt idx="106">
                  <c:v>158225</c:v>
                </c:pt>
                <c:pt idx="107">
                  <c:v>14641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9801</c:v>
                </c:pt>
                <c:pt idx="1">
                  <c:v>211903</c:v>
                </c:pt>
                <c:pt idx="2">
                  <c:v>214538</c:v>
                </c:pt>
                <c:pt idx="3">
                  <c:v>215100</c:v>
                </c:pt>
                <c:pt idx="4">
                  <c:v>216470</c:v>
                </c:pt>
                <c:pt idx="5">
                  <c:v>219762</c:v>
                </c:pt>
                <c:pt idx="6">
                  <c:v>225752</c:v>
                </c:pt>
                <c:pt idx="7">
                  <c:v>235517</c:v>
                </c:pt>
                <c:pt idx="8">
                  <c:v>236890</c:v>
                </c:pt>
                <c:pt idx="9">
                  <c:v>235671</c:v>
                </c:pt>
                <c:pt idx="10">
                  <c:v>234028</c:v>
                </c:pt>
                <c:pt idx="11">
                  <c:v>232527</c:v>
                </c:pt>
                <c:pt idx="12">
                  <c:v>230997</c:v>
                </c:pt>
                <c:pt idx="13">
                  <c:v>228527</c:v>
                </c:pt>
                <c:pt idx="14">
                  <c:v>227728</c:v>
                </c:pt>
                <c:pt idx="15">
                  <c:v>225354</c:v>
                </c:pt>
                <c:pt idx="16">
                  <c:v>222719</c:v>
                </c:pt>
                <c:pt idx="17">
                  <c:v>223808</c:v>
                </c:pt>
                <c:pt idx="18">
                  <c:v>223067</c:v>
                </c:pt>
                <c:pt idx="19">
                  <c:v>225609</c:v>
                </c:pt>
                <c:pt idx="20">
                  <c:v>225935</c:v>
                </c:pt>
                <c:pt idx="21">
                  <c:v>226622</c:v>
                </c:pt>
                <c:pt idx="22">
                  <c:v>226674</c:v>
                </c:pt>
                <c:pt idx="23">
                  <c:v>229496</c:v>
                </c:pt>
                <c:pt idx="24">
                  <c:v>232202</c:v>
                </c:pt>
                <c:pt idx="25">
                  <c:v>234703</c:v>
                </c:pt>
                <c:pt idx="26">
                  <c:v>234719</c:v>
                </c:pt>
                <c:pt idx="27">
                  <c:v>236776</c:v>
                </c:pt>
                <c:pt idx="28">
                  <c:v>238214</c:v>
                </c:pt>
                <c:pt idx="29">
                  <c:v>239822</c:v>
                </c:pt>
                <c:pt idx="30">
                  <c:v>240645</c:v>
                </c:pt>
                <c:pt idx="31">
                  <c:v>239913</c:v>
                </c:pt>
                <c:pt idx="32">
                  <c:v>239674</c:v>
                </c:pt>
                <c:pt idx="33">
                  <c:v>234792</c:v>
                </c:pt>
                <c:pt idx="34">
                  <c:v>231689</c:v>
                </c:pt>
                <c:pt idx="35">
                  <c:v>227340</c:v>
                </c:pt>
                <c:pt idx="36">
                  <c:v>226011</c:v>
                </c:pt>
                <c:pt idx="37">
                  <c:v>222262</c:v>
                </c:pt>
                <c:pt idx="38">
                  <c:v>220006</c:v>
                </c:pt>
                <c:pt idx="39">
                  <c:v>217082</c:v>
                </c:pt>
                <c:pt idx="40">
                  <c:v>215375</c:v>
                </c:pt>
                <c:pt idx="41">
                  <c:v>214119</c:v>
                </c:pt>
                <c:pt idx="42">
                  <c:v>212967</c:v>
                </c:pt>
                <c:pt idx="43">
                  <c:v>210468</c:v>
                </c:pt>
                <c:pt idx="44">
                  <c:v>207626</c:v>
                </c:pt>
                <c:pt idx="45">
                  <c:v>207873</c:v>
                </c:pt>
                <c:pt idx="46">
                  <c:v>209570</c:v>
                </c:pt>
                <c:pt idx="47">
                  <c:v>213257</c:v>
                </c:pt>
                <c:pt idx="48">
                  <c:v>207194</c:v>
                </c:pt>
                <c:pt idx="49">
                  <c:v>201116</c:v>
                </c:pt>
                <c:pt idx="50">
                  <c:v>195364</c:v>
                </c:pt>
                <c:pt idx="51">
                  <c:v>223487</c:v>
                </c:pt>
                <c:pt idx="52">
                  <c:v>223150</c:v>
                </c:pt>
                <c:pt idx="53">
                  <c:v>212482</c:v>
                </c:pt>
                <c:pt idx="54">
                  <c:v>196810</c:v>
                </c:pt>
                <c:pt idx="55">
                  <c:v>182893</c:v>
                </c:pt>
                <c:pt idx="56">
                  <c:v>186390</c:v>
                </c:pt>
                <c:pt idx="57">
                  <c:v>199501</c:v>
                </c:pt>
                <c:pt idx="58">
                  <c:v>196815</c:v>
                </c:pt>
                <c:pt idx="59">
                  <c:v>198365</c:v>
                </c:pt>
                <c:pt idx="60">
                  <c:v>201930</c:v>
                </c:pt>
                <c:pt idx="61">
                  <c:v>198686</c:v>
                </c:pt>
                <c:pt idx="62">
                  <c:v>197152</c:v>
                </c:pt>
                <c:pt idx="63">
                  <c:v>194624</c:v>
                </c:pt>
                <c:pt idx="64">
                  <c:v>191141</c:v>
                </c:pt>
                <c:pt idx="65">
                  <c:v>188777</c:v>
                </c:pt>
                <c:pt idx="66">
                  <c:v>187327</c:v>
                </c:pt>
                <c:pt idx="67">
                  <c:v>181421</c:v>
                </c:pt>
                <c:pt idx="68">
                  <c:v>175801</c:v>
                </c:pt>
                <c:pt idx="69">
                  <c:v>175873</c:v>
                </c:pt>
                <c:pt idx="70">
                  <c:v>173786</c:v>
                </c:pt>
                <c:pt idx="71">
                  <c:v>173278</c:v>
                </c:pt>
                <c:pt idx="72">
                  <c:v>174285</c:v>
                </c:pt>
                <c:pt idx="73">
                  <c:v>174095</c:v>
                </c:pt>
                <c:pt idx="74">
                  <c:v>172892</c:v>
                </c:pt>
                <c:pt idx="75">
                  <c:v>174470</c:v>
                </c:pt>
                <c:pt idx="76">
                  <c:v>175055</c:v>
                </c:pt>
                <c:pt idx="77">
                  <c:v>175713</c:v>
                </c:pt>
                <c:pt idx="78">
                  <c:v>176135</c:v>
                </c:pt>
                <c:pt idx="79">
                  <c:v>175720</c:v>
                </c:pt>
                <c:pt idx="80">
                  <c:v>176405</c:v>
                </c:pt>
                <c:pt idx="81">
                  <c:v>176838</c:v>
                </c:pt>
                <c:pt idx="82">
                  <c:v>177859</c:v>
                </c:pt>
                <c:pt idx="83">
                  <c:v>175065</c:v>
                </c:pt>
                <c:pt idx="84">
                  <c:v>175129</c:v>
                </c:pt>
                <c:pt idx="85">
                  <c:v>173092</c:v>
                </c:pt>
                <c:pt idx="86">
                  <c:v>171713</c:v>
                </c:pt>
                <c:pt idx="87">
                  <c:v>169300</c:v>
                </c:pt>
                <c:pt idx="88">
                  <c:v>170735</c:v>
                </c:pt>
                <c:pt idx="89">
                  <c:v>170488</c:v>
                </c:pt>
                <c:pt idx="90">
                  <c:v>170853</c:v>
                </c:pt>
                <c:pt idx="91">
                  <c:v>170728</c:v>
                </c:pt>
                <c:pt idx="92">
                  <c:v>169035</c:v>
                </c:pt>
                <c:pt idx="93">
                  <c:v>170843</c:v>
                </c:pt>
                <c:pt idx="94">
                  <c:v>171504</c:v>
                </c:pt>
                <c:pt idx="95">
                  <c:v>172714</c:v>
                </c:pt>
                <c:pt idx="96">
                  <c:v>170140</c:v>
                </c:pt>
                <c:pt idx="97">
                  <c:v>170072</c:v>
                </c:pt>
                <c:pt idx="98">
                  <c:v>169008</c:v>
                </c:pt>
                <c:pt idx="99">
                  <c:v>168299</c:v>
                </c:pt>
                <c:pt idx="100">
                  <c:v>174720</c:v>
                </c:pt>
                <c:pt idx="101">
                  <c:v>175031</c:v>
                </c:pt>
                <c:pt idx="102">
                  <c:v>175497</c:v>
                </c:pt>
                <c:pt idx="103">
                  <c:v>172819</c:v>
                </c:pt>
                <c:pt idx="104">
                  <c:v>176361</c:v>
                </c:pt>
                <c:pt idx="105">
                  <c:v>168913</c:v>
                </c:pt>
                <c:pt idx="106">
                  <c:v>176913</c:v>
                </c:pt>
                <c:pt idx="107">
                  <c:v>16284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0.06</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01</c:v>
                </c:pt>
                <c:pt idx="24">
                  <c:v>0</c:v>
                </c:pt>
                <c:pt idx="25">
                  <c:v>0</c:v>
                </c:pt>
                <c:pt idx="26">
                  <c:v>0</c:v>
                </c:pt>
                <c:pt idx="27">
                  <c:v>0.08</c:v>
                </c:pt>
                <c:pt idx="28">
                  <c:v>0.16</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c:v>
                </c:pt>
                <c:pt idx="49">
                  <c:v>0.13</c:v>
                </c:pt>
                <c:pt idx="50">
                  <c:v>0.15</c:v>
                </c:pt>
                <c:pt idx="51">
                  <c:v>0.12</c:v>
                </c:pt>
                <c:pt idx="52">
                  <c:v>0.08</c:v>
                </c:pt>
                <c:pt idx="53">
                  <c:v>0.24</c:v>
                </c:pt>
                <c:pt idx="54">
                  <c:v>0.19</c:v>
                </c:pt>
                <c:pt idx="55">
                  <c:v>0.11</c:v>
                </c:pt>
                <c:pt idx="56">
                  <c:v>0.23</c:v>
                </c:pt>
                <c:pt idx="57">
                  <c:v>0.39</c:v>
                </c:pt>
                <c:pt idx="58">
                  <c:v>0.43</c:v>
                </c:pt>
                <c:pt idx="59">
                  <c:v>0.53</c:v>
                </c:pt>
                <c:pt idx="60">
                  <c:v>0.53</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7</c:v>
                </c:pt>
                <c:pt idx="99">
                  <c:v>0.98</c:v>
                </c:pt>
                <c:pt idx="100">
                  <c:v>0.98</c:v>
                </c:pt>
                <c:pt idx="101">
                  <c:v>0.99</c:v>
                </c:pt>
                <c:pt idx="102">
                  <c:v>0.99</c:v>
                </c:pt>
                <c:pt idx="103">
                  <c:v>0.99</c:v>
                </c:pt>
                <c:pt idx="104">
                  <c:v>0.99</c:v>
                </c:pt>
                <c:pt idx="105">
                  <c:v>0.97</c:v>
                </c:pt>
                <c:pt idx="106">
                  <c:v>0.95</c:v>
                </c:pt>
                <c:pt idx="107">
                  <c:v>0.9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3775</c:v>
                </c:pt>
                <c:pt idx="1">
                  <c:v>31097</c:v>
                </c:pt>
                <c:pt idx="2">
                  <c:v>27142</c:v>
                </c:pt>
                <c:pt idx="3">
                  <c:v>70632</c:v>
                </c:pt>
                <c:pt idx="4">
                  <c:v>1714</c:v>
                </c:pt>
                <c:pt idx="5">
                  <c:v>1384</c:v>
                </c:pt>
                <c:pt idx="6">
                  <c:v>1785</c:v>
                </c:pt>
                <c:pt idx="7">
                  <c:v>1610</c:v>
                </c:pt>
                <c:pt idx="8">
                  <c:v>3408</c:v>
                </c:pt>
                <c:pt idx="9">
                  <c:v>79241</c:v>
                </c:pt>
                <c:pt idx="10">
                  <c:v>113982</c:v>
                </c:pt>
                <c:pt idx="11">
                  <c:v>89719</c:v>
                </c:pt>
                <c:pt idx="12">
                  <c:v>87998</c:v>
                </c:pt>
                <c:pt idx="13">
                  <c:v>77629</c:v>
                </c:pt>
                <c:pt idx="14">
                  <c:v>83787</c:v>
                </c:pt>
                <c:pt idx="15">
                  <c:v>99665</c:v>
                </c:pt>
                <c:pt idx="16">
                  <c:v>2798</c:v>
                </c:pt>
                <c:pt idx="17">
                  <c:v>1176</c:v>
                </c:pt>
                <c:pt idx="18">
                  <c:v>849</c:v>
                </c:pt>
                <c:pt idx="19">
                  <c:v>70056</c:v>
                </c:pt>
                <c:pt idx="20">
                  <c:v>80589</c:v>
                </c:pt>
                <c:pt idx="21">
                  <c:v>282388</c:v>
                </c:pt>
                <c:pt idx="22">
                  <c:v>338683</c:v>
                </c:pt>
                <c:pt idx="23">
                  <c:v>341952</c:v>
                </c:pt>
                <c:pt idx="24">
                  <c:v>339879</c:v>
                </c:pt>
                <c:pt idx="25">
                  <c:v>340173</c:v>
                </c:pt>
                <c:pt idx="26">
                  <c:v>77321</c:v>
                </c:pt>
                <c:pt idx="27">
                  <c:v>65370</c:v>
                </c:pt>
                <c:pt idx="28">
                  <c:v>6405</c:v>
                </c:pt>
                <c:pt idx="29">
                  <c:v>5913</c:v>
                </c:pt>
                <c:pt idx="30">
                  <c:v>1486</c:v>
                </c:pt>
                <c:pt idx="31">
                  <c:v>3003</c:v>
                </c:pt>
                <c:pt idx="32">
                  <c:v>22138</c:v>
                </c:pt>
                <c:pt idx="33">
                  <c:v>97781</c:v>
                </c:pt>
                <c:pt idx="34">
                  <c:v>73785</c:v>
                </c:pt>
                <c:pt idx="35">
                  <c:v>96929</c:v>
                </c:pt>
                <c:pt idx="36">
                  <c:v>63263</c:v>
                </c:pt>
                <c:pt idx="37">
                  <c:v>17853</c:v>
                </c:pt>
                <c:pt idx="38">
                  <c:v>16660</c:v>
                </c:pt>
                <c:pt idx="39">
                  <c:v>9722</c:v>
                </c:pt>
                <c:pt idx="40">
                  <c:v>6913</c:v>
                </c:pt>
                <c:pt idx="41">
                  <c:v>87075</c:v>
                </c:pt>
                <c:pt idx="42">
                  <c:v>98473</c:v>
                </c:pt>
                <c:pt idx="43">
                  <c:v>79184</c:v>
                </c:pt>
                <c:pt idx="44">
                  <c:v>347453</c:v>
                </c:pt>
                <c:pt idx="45">
                  <c:v>324416</c:v>
                </c:pt>
                <c:pt idx="46">
                  <c:v>288148</c:v>
                </c:pt>
                <c:pt idx="47">
                  <c:v>87121</c:v>
                </c:pt>
                <c:pt idx="48">
                  <c:v>67580</c:v>
                </c:pt>
                <c:pt idx="49">
                  <c:v>66161</c:v>
                </c:pt>
                <c:pt idx="50">
                  <c:v>99697</c:v>
                </c:pt>
                <c:pt idx="51">
                  <c:v>251809</c:v>
                </c:pt>
                <c:pt idx="52">
                  <c:v>322017</c:v>
                </c:pt>
                <c:pt idx="53">
                  <c:v>336233</c:v>
                </c:pt>
                <c:pt idx="54">
                  <c:v>310381</c:v>
                </c:pt>
                <c:pt idx="55">
                  <c:v>293721</c:v>
                </c:pt>
                <c:pt idx="56">
                  <c:v>20664</c:v>
                </c:pt>
                <c:pt idx="57">
                  <c:v>24636</c:v>
                </c:pt>
                <c:pt idx="58">
                  <c:v>20991</c:v>
                </c:pt>
                <c:pt idx="59">
                  <c:v>25186</c:v>
                </c:pt>
                <c:pt idx="60">
                  <c:v>77042</c:v>
                </c:pt>
                <c:pt idx="61">
                  <c:v>99260</c:v>
                </c:pt>
                <c:pt idx="62">
                  <c:v>71859</c:v>
                </c:pt>
                <c:pt idx="63">
                  <c:v>24823</c:v>
                </c:pt>
                <c:pt idx="64">
                  <c:v>10478</c:v>
                </c:pt>
                <c:pt idx="65">
                  <c:v>84114</c:v>
                </c:pt>
                <c:pt idx="66">
                  <c:v>183068</c:v>
                </c:pt>
                <c:pt idx="67">
                  <c:v>171571</c:v>
                </c:pt>
                <c:pt idx="68">
                  <c:v>103565</c:v>
                </c:pt>
                <c:pt idx="69">
                  <c:v>53963</c:v>
                </c:pt>
                <c:pt idx="70">
                  <c:v>36041</c:v>
                </c:pt>
                <c:pt idx="71">
                  <c:v>61765</c:v>
                </c:pt>
                <c:pt idx="72">
                  <c:v>51951</c:v>
                </c:pt>
                <c:pt idx="73">
                  <c:v>193824</c:v>
                </c:pt>
                <c:pt idx="74">
                  <c:v>238147</c:v>
                </c:pt>
                <c:pt idx="75">
                  <c:v>236587</c:v>
                </c:pt>
                <c:pt idx="76">
                  <c:v>230302</c:v>
                </c:pt>
                <c:pt idx="77">
                  <c:v>228001</c:v>
                </c:pt>
                <c:pt idx="78">
                  <c:v>227491</c:v>
                </c:pt>
                <c:pt idx="79">
                  <c:v>26235</c:v>
                </c:pt>
                <c:pt idx="80">
                  <c:v>1270</c:v>
                </c:pt>
                <c:pt idx="81">
                  <c:v>1368</c:v>
                </c:pt>
                <c:pt idx="82">
                  <c:v>49312</c:v>
                </c:pt>
                <c:pt idx="83">
                  <c:v>56189</c:v>
                </c:pt>
                <c:pt idx="84">
                  <c:v>61690</c:v>
                </c:pt>
                <c:pt idx="85">
                  <c:v>54826</c:v>
                </c:pt>
                <c:pt idx="86">
                  <c:v>13618</c:v>
                </c:pt>
                <c:pt idx="87">
                  <c:v>14642</c:v>
                </c:pt>
                <c:pt idx="88">
                  <c:v>13438</c:v>
                </c:pt>
                <c:pt idx="89">
                  <c:v>14607</c:v>
                </c:pt>
                <c:pt idx="90">
                  <c:v>15617</c:v>
                </c:pt>
                <c:pt idx="91">
                  <c:v>1307</c:v>
                </c:pt>
                <c:pt idx="92">
                  <c:v>910</c:v>
                </c:pt>
                <c:pt idx="93">
                  <c:v>46520</c:v>
                </c:pt>
                <c:pt idx="94">
                  <c:v>54916</c:v>
                </c:pt>
                <c:pt idx="95">
                  <c:v>247717</c:v>
                </c:pt>
                <c:pt idx="96">
                  <c:v>259457</c:v>
                </c:pt>
                <c:pt idx="97">
                  <c:v>248536</c:v>
                </c:pt>
                <c:pt idx="98">
                  <c:v>241752</c:v>
                </c:pt>
                <c:pt idx="99">
                  <c:v>221995</c:v>
                </c:pt>
                <c:pt idx="100">
                  <c:v>189946</c:v>
                </c:pt>
                <c:pt idx="101">
                  <c:v>56512</c:v>
                </c:pt>
                <c:pt idx="102">
                  <c:v>76181</c:v>
                </c:pt>
                <c:pt idx="103">
                  <c:v>65321</c:v>
                </c:pt>
                <c:pt idx="104">
                  <c:v>201725</c:v>
                </c:pt>
                <c:pt idx="105">
                  <c:v>281643</c:v>
                </c:pt>
                <c:pt idx="106">
                  <c:v>297071</c:v>
                </c:pt>
                <c:pt idx="107">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72166</c:v>
                </c:pt>
                <c:pt idx="1">
                  <c:v>253812</c:v>
                </c:pt>
                <c:pt idx="2">
                  <c:v>260415</c:v>
                </c:pt>
                <c:pt idx="3">
                  <c:v>207675</c:v>
                </c:pt>
                <c:pt idx="4">
                  <c:v>275623</c:v>
                </c:pt>
                <c:pt idx="5">
                  <c:v>272467</c:v>
                </c:pt>
                <c:pt idx="6">
                  <c:v>255917</c:v>
                </c:pt>
                <c:pt idx="7">
                  <c:v>274637</c:v>
                </c:pt>
                <c:pt idx="8">
                  <c:v>283508</c:v>
                </c:pt>
                <c:pt idx="9">
                  <c:v>225339</c:v>
                </c:pt>
                <c:pt idx="10">
                  <c:v>210860</c:v>
                </c:pt>
                <c:pt idx="11">
                  <c:v>221454</c:v>
                </c:pt>
                <c:pt idx="12">
                  <c:v>193408</c:v>
                </c:pt>
                <c:pt idx="13">
                  <c:v>235665</c:v>
                </c:pt>
                <c:pt idx="14">
                  <c:v>191153</c:v>
                </c:pt>
                <c:pt idx="15">
                  <c:v>234055</c:v>
                </c:pt>
                <c:pt idx="16">
                  <c:v>291802</c:v>
                </c:pt>
                <c:pt idx="17">
                  <c:v>286827</c:v>
                </c:pt>
                <c:pt idx="18">
                  <c:v>267320</c:v>
                </c:pt>
                <c:pt idx="19">
                  <c:v>206654</c:v>
                </c:pt>
                <c:pt idx="20">
                  <c:v>211694</c:v>
                </c:pt>
                <c:pt idx="21">
                  <c:v>22119</c:v>
                </c:pt>
                <c:pt idx="22">
                  <c:v>13587</c:v>
                </c:pt>
                <c:pt idx="23">
                  <c:v>15619</c:v>
                </c:pt>
                <c:pt idx="24">
                  <c:v>9485</c:v>
                </c:pt>
                <c:pt idx="25">
                  <c:v>38000</c:v>
                </c:pt>
                <c:pt idx="26">
                  <c:v>225292</c:v>
                </c:pt>
                <c:pt idx="27">
                  <c:v>219789</c:v>
                </c:pt>
                <c:pt idx="28">
                  <c:v>269793</c:v>
                </c:pt>
                <c:pt idx="29">
                  <c:v>266627</c:v>
                </c:pt>
                <c:pt idx="30">
                  <c:v>279771</c:v>
                </c:pt>
                <c:pt idx="31">
                  <c:v>278212</c:v>
                </c:pt>
                <c:pt idx="32">
                  <c:v>261587</c:v>
                </c:pt>
                <c:pt idx="33">
                  <c:v>220492</c:v>
                </c:pt>
                <c:pt idx="34">
                  <c:v>244728</c:v>
                </c:pt>
                <c:pt idx="35">
                  <c:v>215148</c:v>
                </c:pt>
                <c:pt idx="36">
                  <c:v>226940</c:v>
                </c:pt>
                <c:pt idx="37">
                  <c:v>252688</c:v>
                </c:pt>
                <c:pt idx="38">
                  <c:v>256861</c:v>
                </c:pt>
                <c:pt idx="39">
                  <c:v>273356</c:v>
                </c:pt>
                <c:pt idx="40">
                  <c:v>271931</c:v>
                </c:pt>
                <c:pt idx="41">
                  <c:v>205352</c:v>
                </c:pt>
                <c:pt idx="42">
                  <c:v>198815</c:v>
                </c:pt>
                <c:pt idx="43">
                  <c:v>260952</c:v>
                </c:pt>
                <c:pt idx="44">
                  <c:v>0</c:v>
                </c:pt>
                <c:pt idx="45">
                  <c:v>0</c:v>
                </c:pt>
                <c:pt idx="46">
                  <c:v>302</c:v>
                </c:pt>
                <c:pt idx="47">
                  <c:v>183301</c:v>
                </c:pt>
                <c:pt idx="48">
                  <c:v>225514</c:v>
                </c:pt>
                <c:pt idx="49">
                  <c:v>226025</c:v>
                </c:pt>
                <c:pt idx="50">
                  <c:v>226010</c:v>
                </c:pt>
                <c:pt idx="51">
                  <c:v>780</c:v>
                </c:pt>
                <c:pt idx="52">
                  <c:v>117</c:v>
                </c:pt>
                <c:pt idx="53">
                  <c:v>51</c:v>
                </c:pt>
                <c:pt idx="54">
                  <c:v>96</c:v>
                </c:pt>
                <c:pt idx="55">
                  <c:v>9508</c:v>
                </c:pt>
                <c:pt idx="56">
                  <c:v>250418</c:v>
                </c:pt>
                <c:pt idx="57">
                  <c:v>240158</c:v>
                </c:pt>
                <c:pt idx="58">
                  <c:v>221308</c:v>
                </c:pt>
                <c:pt idx="59">
                  <c:v>248725</c:v>
                </c:pt>
                <c:pt idx="60">
                  <c:v>220771</c:v>
                </c:pt>
                <c:pt idx="61">
                  <c:v>212398</c:v>
                </c:pt>
                <c:pt idx="62">
                  <c:v>230289</c:v>
                </c:pt>
                <c:pt idx="63">
                  <c:v>247648</c:v>
                </c:pt>
                <c:pt idx="64">
                  <c:v>260410</c:v>
                </c:pt>
                <c:pt idx="65">
                  <c:v>169548</c:v>
                </c:pt>
                <c:pt idx="66">
                  <c:v>120659</c:v>
                </c:pt>
                <c:pt idx="67">
                  <c:v>131631</c:v>
                </c:pt>
                <c:pt idx="68">
                  <c:v>157361</c:v>
                </c:pt>
                <c:pt idx="69">
                  <c:v>174275</c:v>
                </c:pt>
                <c:pt idx="70">
                  <c:v>177673</c:v>
                </c:pt>
                <c:pt idx="71">
                  <c:v>137772</c:v>
                </c:pt>
                <c:pt idx="72">
                  <c:v>157896</c:v>
                </c:pt>
                <c:pt idx="73">
                  <c:v>15818</c:v>
                </c:pt>
                <c:pt idx="74">
                  <c:v>3145</c:v>
                </c:pt>
                <c:pt idx="75">
                  <c:v>2297</c:v>
                </c:pt>
                <c:pt idx="76">
                  <c:v>3762</c:v>
                </c:pt>
                <c:pt idx="77">
                  <c:v>13365</c:v>
                </c:pt>
                <c:pt idx="78">
                  <c:v>18083</c:v>
                </c:pt>
                <c:pt idx="79">
                  <c:v>161472</c:v>
                </c:pt>
                <c:pt idx="80">
                  <c:v>183281</c:v>
                </c:pt>
                <c:pt idx="81">
                  <c:v>184928</c:v>
                </c:pt>
                <c:pt idx="82">
                  <c:v>147962</c:v>
                </c:pt>
                <c:pt idx="83">
                  <c:v>156460</c:v>
                </c:pt>
                <c:pt idx="84">
                  <c:v>147124</c:v>
                </c:pt>
                <c:pt idx="85">
                  <c:v>158578</c:v>
                </c:pt>
                <c:pt idx="86">
                  <c:v>182286</c:v>
                </c:pt>
                <c:pt idx="87">
                  <c:v>171706</c:v>
                </c:pt>
                <c:pt idx="88">
                  <c:v>172103</c:v>
                </c:pt>
                <c:pt idx="89">
                  <c:v>166994</c:v>
                </c:pt>
                <c:pt idx="90">
                  <c:v>172463</c:v>
                </c:pt>
                <c:pt idx="91">
                  <c:v>248542</c:v>
                </c:pt>
                <c:pt idx="92">
                  <c:v>186980</c:v>
                </c:pt>
                <c:pt idx="93">
                  <c:v>154429</c:v>
                </c:pt>
                <c:pt idx="94">
                  <c:v>166645</c:v>
                </c:pt>
                <c:pt idx="95">
                  <c:v>0</c:v>
                </c:pt>
                <c:pt idx="96">
                  <c:v>181</c:v>
                </c:pt>
                <c:pt idx="97">
                  <c:v>633</c:v>
                </c:pt>
                <c:pt idx="98">
                  <c:v>19</c:v>
                </c:pt>
                <c:pt idx="99">
                  <c:v>24</c:v>
                </c:pt>
                <c:pt idx="100">
                  <c:v>29229</c:v>
                </c:pt>
                <c:pt idx="101">
                  <c:v>169291</c:v>
                </c:pt>
                <c:pt idx="102">
                  <c:v>162908</c:v>
                </c:pt>
                <c:pt idx="103">
                  <c:v>137342</c:v>
                </c:pt>
                <c:pt idx="104">
                  <c:v>17266</c:v>
                </c:pt>
                <c:pt idx="105">
                  <c:v>0</c:v>
                </c:pt>
                <c:pt idx="106">
                  <c:v>115</c:v>
                </c:pt>
                <c:pt idx="107">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45941</c:v>
                </c:pt>
                <c:pt idx="1">
                  <c:v>284909</c:v>
                </c:pt>
                <c:pt idx="2">
                  <c:v>287557</c:v>
                </c:pt>
                <c:pt idx="3">
                  <c:v>278307</c:v>
                </c:pt>
                <c:pt idx="4">
                  <c:v>277337</c:v>
                </c:pt>
                <c:pt idx="5">
                  <c:v>273851</c:v>
                </c:pt>
                <c:pt idx="6">
                  <c:v>257702</c:v>
                </c:pt>
                <c:pt idx="7">
                  <c:v>276247</c:v>
                </c:pt>
                <c:pt idx="8">
                  <c:v>286916</c:v>
                </c:pt>
                <c:pt idx="9">
                  <c:v>304580</c:v>
                </c:pt>
                <c:pt idx="10">
                  <c:v>324842</c:v>
                </c:pt>
                <c:pt idx="11">
                  <c:v>311173</c:v>
                </c:pt>
                <c:pt idx="12">
                  <c:v>281406</c:v>
                </c:pt>
                <c:pt idx="13">
                  <c:v>313294</c:v>
                </c:pt>
                <c:pt idx="14">
                  <c:v>274940</c:v>
                </c:pt>
                <c:pt idx="15">
                  <c:v>333720</c:v>
                </c:pt>
                <c:pt idx="16">
                  <c:v>294600</c:v>
                </c:pt>
                <c:pt idx="17">
                  <c:v>288003</c:v>
                </c:pt>
                <c:pt idx="18">
                  <c:v>268169</c:v>
                </c:pt>
                <c:pt idx="19">
                  <c:v>276710</c:v>
                </c:pt>
                <c:pt idx="20">
                  <c:v>292283</c:v>
                </c:pt>
                <c:pt idx="21">
                  <c:v>304507</c:v>
                </c:pt>
                <c:pt idx="22">
                  <c:v>352270</c:v>
                </c:pt>
                <c:pt idx="23">
                  <c:v>357571</c:v>
                </c:pt>
                <c:pt idx="24">
                  <c:v>349364</c:v>
                </c:pt>
                <c:pt idx="25">
                  <c:v>378173</c:v>
                </c:pt>
                <c:pt idx="26">
                  <c:v>302613</c:v>
                </c:pt>
                <c:pt idx="27">
                  <c:v>285159</c:v>
                </c:pt>
                <c:pt idx="28">
                  <c:v>276198</c:v>
                </c:pt>
                <c:pt idx="29">
                  <c:v>272540</c:v>
                </c:pt>
                <c:pt idx="30">
                  <c:v>281257</c:v>
                </c:pt>
                <c:pt idx="31">
                  <c:v>281215</c:v>
                </c:pt>
                <c:pt idx="32">
                  <c:v>283725</c:v>
                </c:pt>
                <c:pt idx="33">
                  <c:v>318273</c:v>
                </c:pt>
                <c:pt idx="34">
                  <c:v>318513</c:v>
                </c:pt>
                <c:pt idx="35">
                  <c:v>312077</c:v>
                </c:pt>
                <c:pt idx="36">
                  <c:v>290203</c:v>
                </c:pt>
                <c:pt idx="37">
                  <c:v>270541</c:v>
                </c:pt>
                <c:pt idx="38">
                  <c:v>273521</c:v>
                </c:pt>
                <c:pt idx="39">
                  <c:v>283078</c:v>
                </c:pt>
                <c:pt idx="40">
                  <c:v>278844</c:v>
                </c:pt>
                <c:pt idx="41">
                  <c:v>292427</c:v>
                </c:pt>
                <c:pt idx="42">
                  <c:v>297288</c:v>
                </c:pt>
                <c:pt idx="43">
                  <c:v>340136</c:v>
                </c:pt>
                <c:pt idx="44">
                  <c:v>347453</c:v>
                </c:pt>
                <c:pt idx="45">
                  <c:v>324416</c:v>
                </c:pt>
                <c:pt idx="46">
                  <c:v>288450</c:v>
                </c:pt>
                <c:pt idx="47">
                  <c:v>270422</c:v>
                </c:pt>
                <c:pt idx="48">
                  <c:v>293094</c:v>
                </c:pt>
                <c:pt idx="49">
                  <c:v>292186</c:v>
                </c:pt>
                <c:pt idx="50">
                  <c:v>325707</c:v>
                </c:pt>
                <c:pt idx="51">
                  <c:v>252589</c:v>
                </c:pt>
                <c:pt idx="52">
                  <c:v>322134</c:v>
                </c:pt>
                <c:pt idx="53">
                  <c:v>336284</c:v>
                </c:pt>
                <c:pt idx="54">
                  <c:v>310477</c:v>
                </c:pt>
                <c:pt idx="55">
                  <c:v>303229</c:v>
                </c:pt>
                <c:pt idx="56">
                  <c:v>271082</c:v>
                </c:pt>
                <c:pt idx="57">
                  <c:v>264794</c:v>
                </c:pt>
                <c:pt idx="58">
                  <c:v>242299</c:v>
                </c:pt>
                <c:pt idx="59">
                  <c:v>273911</c:v>
                </c:pt>
                <c:pt idx="60">
                  <c:v>297813</c:v>
                </c:pt>
                <c:pt idx="61">
                  <c:v>311658</c:v>
                </c:pt>
                <c:pt idx="62">
                  <c:v>302148</c:v>
                </c:pt>
                <c:pt idx="63">
                  <c:v>272471</c:v>
                </c:pt>
                <c:pt idx="64">
                  <c:v>270888</c:v>
                </c:pt>
                <c:pt idx="65">
                  <c:v>253662</c:v>
                </c:pt>
                <c:pt idx="66">
                  <c:v>303727</c:v>
                </c:pt>
                <c:pt idx="67">
                  <c:v>303202</c:v>
                </c:pt>
                <c:pt idx="68">
                  <c:v>260926</c:v>
                </c:pt>
                <c:pt idx="69">
                  <c:v>228238</c:v>
                </c:pt>
                <c:pt idx="70">
                  <c:v>213714</c:v>
                </c:pt>
                <c:pt idx="71">
                  <c:v>199537</c:v>
                </c:pt>
                <c:pt idx="72">
                  <c:v>209847</c:v>
                </c:pt>
                <c:pt idx="73">
                  <c:v>209642</c:v>
                </c:pt>
                <c:pt idx="74">
                  <c:v>241292</c:v>
                </c:pt>
                <c:pt idx="75">
                  <c:v>238884</c:v>
                </c:pt>
                <c:pt idx="76">
                  <c:v>234064</c:v>
                </c:pt>
                <c:pt idx="77">
                  <c:v>241366</c:v>
                </c:pt>
                <c:pt idx="78">
                  <c:v>245574</c:v>
                </c:pt>
                <c:pt idx="79">
                  <c:v>187707</c:v>
                </c:pt>
                <c:pt idx="80">
                  <c:v>184551</c:v>
                </c:pt>
                <c:pt idx="81">
                  <c:v>186296</c:v>
                </c:pt>
                <c:pt idx="82">
                  <c:v>197274</c:v>
                </c:pt>
                <c:pt idx="83">
                  <c:v>212649</c:v>
                </c:pt>
                <c:pt idx="84">
                  <c:v>208814</c:v>
                </c:pt>
                <c:pt idx="85">
                  <c:v>213404</c:v>
                </c:pt>
                <c:pt idx="86">
                  <c:v>195904</c:v>
                </c:pt>
                <c:pt idx="87">
                  <c:v>186348</c:v>
                </c:pt>
                <c:pt idx="88">
                  <c:v>185541</c:v>
                </c:pt>
                <c:pt idx="89">
                  <c:v>181601</c:v>
                </c:pt>
                <c:pt idx="90">
                  <c:v>188080</c:v>
                </c:pt>
                <c:pt idx="91">
                  <c:v>249849</c:v>
                </c:pt>
                <c:pt idx="92">
                  <c:v>187890</c:v>
                </c:pt>
                <c:pt idx="93">
                  <c:v>200949</c:v>
                </c:pt>
                <c:pt idx="94">
                  <c:v>221561</c:v>
                </c:pt>
                <c:pt idx="95">
                  <c:v>247717</c:v>
                </c:pt>
                <c:pt idx="96">
                  <c:v>259638</c:v>
                </c:pt>
                <c:pt idx="97">
                  <c:v>249169</c:v>
                </c:pt>
                <c:pt idx="98">
                  <c:v>241771</c:v>
                </c:pt>
                <c:pt idx="99">
                  <c:v>222019</c:v>
                </c:pt>
                <c:pt idx="100">
                  <c:v>219175</c:v>
                </c:pt>
                <c:pt idx="101">
                  <c:v>225803</c:v>
                </c:pt>
                <c:pt idx="102">
                  <c:v>239089</c:v>
                </c:pt>
                <c:pt idx="103">
                  <c:v>202663</c:v>
                </c:pt>
                <c:pt idx="104">
                  <c:v>218991</c:v>
                </c:pt>
                <c:pt idx="105">
                  <c:v>281643</c:v>
                </c:pt>
                <c:pt idx="106">
                  <c:v>297186</c:v>
                </c:pt>
                <c:pt idx="107">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73034</c:v>
                </c:pt>
                <c:pt idx="1">
                  <c:v>272517</c:v>
                </c:pt>
                <c:pt idx="2">
                  <c:v>271436</c:v>
                </c:pt>
                <c:pt idx="3">
                  <c:v>267377</c:v>
                </c:pt>
                <c:pt idx="4">
                  <c:v>267603</c:v>
                </c:pt>
                <c:pt idx="5">
                  <c:v>280571</c:v>
                </c:pt>
                <c:pt idx="6">
                  <c:v>279768</c:v>
                </c:pt>
                <c:pt idx="7">
                  <c:v>278100</c:v>
                </c:pt>
                <c:pt idx="8">
                  <c:v>278422</c:v>
                </c:pt>
                <c:pt idx="9">
                  <c:v>275983</c:v>
                </c:pt>
                <c:pt idx="10">
                  <c:v>277413</c:v>
                </c:pt>
                <c:pt idx="11">
                  <c:v>275469</c:v>
                </c:pt>
                <c:pt idx="12">
                  <c:v>273381</c:v>
                </c:pt>
                <c:pt idx="13">
                  <c:v>293781</c:v>
                </c:pt>
                <c:pt idx="14">
                  <c:v>286761</c:v>
                </c:pt>
                <c:pt idx="15">
                  <c:v>281823</c:v>
                </c:pt>
                <c:pt idx="16">
                  <c:v>279670</c:v>
                </c:pt>
                <c:pt idx="17">
                  <c:v>281753</c:v>
                </c:pt>
                <c:pt idx="18">
                  <c:v>277359</c:v>
                </c:pt>
                <c:pt idx="19">
                  <c:v>280245</c:v>
                </c:pt>
                <c:pt idx="20">
                  <c:v>278333</c:v>
                </c:pt>
                <c:pt idx="21">
                  <c:v>272653</c:v>
                </c:pt>
                <c:pt idx="22">
                  <c:v>267200</c:v>
                </c:pt>
                <c:pt idx="23">
                  <c:v>272498</c:v>
                </c:pt>
                <c:pt idx="24">
                  <c:v>269590</c:v>
                </c:pt>
                <c:pt idx="25">
                  <c:v>278891</c:v>
                </c:pt>
                <c:pt idx="26">
                  <c:v>275813</c:v>
                </c:pt>
                <c:pt idx="27">
                  <c:v>278552</c:v>
                </c:pt>
                <c:pt idx="28">
                  <c:v>278122</c:v>
                </c:pt>
                <c:pt idx="29">
                  <c:v>280126</c:v>
                </c:pt>
                <c:pt idx="30">
                  <c:v>280793</c:v>
                </c:pt>
                <c:pt idx="31">
                  <c:v>281344</c:v>
                </c:pt>
                <c:pt idx="32">
                  <c:v>281441</c:v>
                </c:pt>
                <c:pt idx="33">
                  <c:v>280886</c:v>
                </c:pt>
                <c:pt idx="34">
                  <c:v>280959</c:v>
                </c:pt>
                <c:pt idx="35">
                  <c:v>279993</c:v>
                </c:pt>
                <c:pt idx="36">
                  <c:v>280193</c:v>
                </c:pt>
                <c:pt idx="37">
                  <c:v>279442</c:v>
                </c:pt>
                <c:pt idx="38">
                  <c:v>279018</c:v>
                </c:pt>
                <c:pt idx="39">
                  <c:v>277475</c:v>
                </c:pt>
                <c:pt idx="40">
                  <c:v>284107</c:v>
                </c:pt>
                <c:pt idx="41">
                  <c:v>284552</c:v>
                </c:pt>
                <c:pt idx="42">
                  <c:v>288200</c:v>
                </c:pt>
                <c:pt idx="43">
                  <c:v>289629</c:v>
                </c:pt>
                <c:pt idx="44">
                  <c:v>286077</c:v>
                </c:pt>
                <c:pt idx="45">
                  <c:v>286409</c:v>
                </c:pt>
                <c:pt idx="46">
                  <c:v>283790</c:v>
                </c:pt>
                <c:pt idx="47">
                  <c:v>287764</c:v>
                </c:pt>
                <c:pt idx="48">
                  <c:v>282159</c:v>
                </c:pt>
                <c:pt idx="49">
                  <c:v>282029</c:v>
                </c:pt>
                <c:pt idx="50">
                  <c:v>282887</c:v>
                </c:pt>
                <c:pt idx="51">
                  <c:v>275963</c:v>
                </c:pt>
                <c:pt idx="52">
                  <c:v>283037</c:v>
                </c:pt>
                <c:pt idx="53">
                  <c:v>289562</c:v>
                </c:pt>
                <c:pt idx="54">
                  <c:v>277793</c:v>
                </c:pt>
                <c:pt idx="55">
                  <c:v>255120</c:v>
                </c:pt>
                <c:pt idx="56">
                  <c:v>267010</c:v>
                </c:pt>
                <c:pt idx="57">
                  <c:v>271370</c:v>
                </c:pt>
                <c:pt idx="58">
                  <c:v>262554</c:v>
                </c:pt>
                <c:pt idx="59">
                  <c:v>292383</c:v>
                </c:pt>
                <c:pt idx="60">
                  <c:v>293950</c:v>
                </c:pt>
                <c:pt idx="61">
                  <c:v>287070</c:v>
                </c:pt>
                <c:pt idx="62">
                  <c:v>277936</c:v>
                </c:pt>
                <c:pt idx="63">
                  <c:v>278929</c:v>
                </c:pt>
                <c:pt idx="64">
                  <c:v>279706</c:v>
                </c:pt>
                <c:pt idx="65">
                  <c:v>275230</c:v>
                </c:pt>
                <c:pt idx="66">
                  <c:v>275235</c:v>
                </c:pt>
                <c:pt idx="67">
                  <c:v>263187</c:v>
                </c:pt>
                <c:pt idx="68">
                  <c:v>247656</c:v>
                </c:pt>
                <c:pt idx="69">
                  <c:v>231316</c:v>
                </c:pt>
                <c:pt idx="70">
                  <c:v>201008</c:v>
                </c:pt>
                <c:pt idx="71">
                  <c:v>196995</c:v>
                </c:pt>
                <c:pt idx="72">
                  <c:v>204581</c:v>
                </c:pt>
                <c:pt idx="73">
                  <c:v>190107</c:v>
                </c:pt>
                <c:pt idx="74">
                  <c:v>188622</c:v>
                </c:pt>
                <c:pt idx="75">
                  <c:v>182797</c:v>
                </c:pt>
                <c:pt idx="76">
                  <c:v>187027</c:v>
                </c:pt>
                <c:pt idx="77">
                  <c:v>184208</c:v>
                </c:pt>
                <c:pt idx="78">
                  <c:v>184461</c:v>
                </c:pt>
                <c:pt idx="79">
                  <c:v>184051</c:v>
                </c:pt>
                <c:pt idx="80">
                  <c:v>184722</c:v>
                </c:pt>
                <c:pt idx="81">
                  <c:v>184853</c:v>
                </c:pt>
                <c:pt idx="82">
                  <c:v>188276</c:v>
                </c:pt>
                <c:pt idx="83">
                  <c:v>191790</c:v>
                </c:pt>
                <c:pt idx="84">
                  <c:v>189231</c:v>
                </c:pt>
                <c:pt idx="85">
                  <c:v>190467</c:v>
                </c:pt>
                <c:pt idx="86">
                  <c:v>188839</c:v>
                </c:pt>
                <c:pt idx="87">
                  <c:v>189565</c:v>
                </c:pt>
                <c:pt idx="88">
                  <c:v>197332</c:v>
                </c:pt>
                <c:pt idx="89">
                  <c:v>197610</c:v>
                </c:pt>
                <c:pt idx="90">
                  <c:v>196538</c:v>
                </c:pt>
                <c:pt idx="91">
                  <c:v>198652</c:v>
                </c:pt>
                <c:pt idx="92">
                  <c:v>201537</c:v>
                </c:pt>
                <c:pt idx="93">
                  <c:v>202294</c:v>
                </c:pt>
                <c:pt idx="94">
                  <c:v>204937</c:v>
                </c:pt>
                <c:pt idx="95">
                  <c:v>209917</c:v>
                </c:pt>
                <c:pt idx="96">
                  <c:v>191200</c:v>
                </c:pt>
                <c:pt idx="97">
                  <c:v>192704</c:v>
                </c:pt>
                <c:pt idx="98">
                  <c:v>203498</c:v>
                </c:pt>
                <c:pt idx="99">
                  <c:v>212330</c:v>
                </c:pt>
                <c:pt idx="100">
                  <c:v>203668</c:v>
                </c:pt>
                <c:pt idx="101">
                  <c:v>203296</c:v>
                </c:pt>
                <c:pt idx="102">
                  <c:v>204550</c:v>
                </c:pt>
                <c:pt idx="103">
                  <c:v>204014</c:v>
                </c:pt>
                <c:pt idx="104">
                  <c:v>200961</c:v>
                </c:pt>
                <c:pt idx="105">
                  <c:v>200847</c:v>
                </c:pt>
                <c:pt idx="106">
                  <c:v>204293</c:v>
                </c:pt>
                <c:pt idx="107">
                  <c:v>18933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34</c:v>
                </c:pt>
                <c:pt idx="1">
                  <c:v>0.14000000000000001</c:v>
                </c:pt>
                <c:pt idx="2">
                  <c:v>0.12</c:v>
                </c:pt>
                <c:pt idx="3">
                  <c:v>0.3</c:v>
                </c:pt>
                <c:pt idx="4">
                  <c:v>0.01</c:v>
                </c:pt>
                <c:pt idx="5">
                  <c:v>0.01</c:v>
                </c:pt>
                <c:pt idx="6">
                  <c:v>0.01</c:v>
                </c:pt>
                <c:pt idx="7">
                  <c:v>0.01</c:v>
                </c:pt>
                <c:pt idx="8">
                  <c:v>0.01</c:v>
                </c:pt>
                <c:pt idx="9">
                  <c:v>0.28999999999999998</c:v>
                </c:pt>
                <c:pt idx="10">
                  <c:v>0.41</c:v>
                </c:pt>
                <c:pt idx="11">
                  <c:v>0.35</c:v>
                </c:pt>
                <c:pt idx="12">
                  <c:v>0.35</c:v>
                </c:pt>
                <c:pt idx="13">
                  <c:v>0.28000000000000003</c:v>
                </c:pt>
                <c:pt idx="14">
                  <c:v>0.34</c:v>
                </c:pt>
                <c:pt idx="15">
                  <c:v>0.34</c:v>
                </c:pt>
                <c:pt idx="16">
                  <c:v>0.01</c:v>
                </c:pt>
                <c:pt idx="17">
                  <c:v>0</c:v>
                </c:pt>
                <c:pt idx="18">
                  <c:v>0</c:v>
                </c:pt>
                <c:pt idx="19">
                  <c:v>0.3</c:v>
                </c:pt>
                <c:pt idx="20">
                  <c:v>0.33</c:v>
                </c:pt>
                <c:pt idx="21">
                  <c:v>0.93</c:v>
                </c:pt>
                <c:pt idx="22">
                  <c:v>0.97</c:v>
                </c:pt>
                <c:pt idx="23">
                  <c:v>0.96</c:v>
                </c:pt>
                <c:pt idx="24">
                  <c:v>0.98</c:v>
                </c:pt>
                <c:pt idx="25">
                  <c:v>0.9</c:v>
                </c:pt>
                <c:pt idx="26">
                  <c:v>0.27</c:v>
                </c:pt>
                <c:pt idx="27">
                  <c:v>0.23</c:v>
                </c:pt>
                <c:pt idx="28">
                  <c:v>0.02</c:v>
                </c:pt>
                <c:pt idx="29">
                  <c:v>0.02</c:v>
                </c:pt>
                <c:pt idx="30">
                  <c:v>0.01</c:v>
                </c:pt>
                <c:pt idx="31">
                  <c:v>0.01</c:v>
                </c:pt>
                <c:pt idx="32">
                  <c:v>0.08</c:v>
                </c:pt>
                <c:pt idx="33">
                  <c:v>0.32</c:v>
                </c:pt>
                <c:pt idx="34">
                  <c:v>0.24</c:v>
                </c:pt>
                <c:pt idx="35">
                  <c:v>0.32</c:v>
                </c:pt>
                <c:pt idx="36">
                  <c:v>0.23</c:v>
                </c:pt>
                <c:pt idx="37">
                  <c:v>7.0000000000000007E-2</c:v>
                </c:pt>
                <c:pt idx="38">
                  <c:v>0.06</c:v>
                </c:pt>
                <c:pt idx="39">
                  <c:v>0.03</c:v>
                </c:pt>
                <c:pt idx="40">
                  <c:v>0.02</c:v>
                </c:pt>
                <c:pt idx="41">
                  <c:v>0.3</c:v>
                </c:pt>
                <c:pt idx="42">
                  <c:v>0.36</c:v>
                </c:pt>
                <c:pt idx="43">
                  <c:v>0.25</c:v>
                </c:pt>
                <c:pt idx="44">
                  <c:v>1</c:v>
                </c:pt>
                <c:pt idx="45">
                  <c:v>1</c:v>
                </c:pt>
                <c:pt idx="46">
                  <c:v>1</c:v>
                </c:pt>
                <c:pt idx="47">
                  <c:v>0.34</c:v>
                </c:pt>
                <c:pt idx="48">
                  <c:v>0.25</c:v>
                </c:pt>
                <c:pt idx="49">
                  <c:v>0.24</c:v>
                </c:pt>
                <c:pt idx="50">
                  <c:v>0.32</c:v>
                </c:pt>
                <c:pt idx="51">
                  <c:v>1</c:v>
                </c:pt>
                <c:pt idx="52">
                  <c:v>1</c:v>
                </c:pt>
                <c:pt idx="53">
                  <c:v>1</c:v>
                </c:pt>
                <c:pt idx="54">
                  <c:v>1</c:v>
                </c:pt>
                <c:pt idx="55">
                  <c:v>0.97</c:v>
                </c:pt>
                <c:pt idx="56">
                  <c:v>0.08</c:v>
                </c:pt>
                <c:pt idx="57">
                  <c:v>0.09</c:v>
                </c:pt>
                <c:pt idx="58">
                  <c:v>0.09</c:v>
                </c:pt>
                <c:pt idx="59">
                  <c:v>0.09</c:v>
                </c:pt>
                <c:pt idx="60">
                  <c:v>0.26</c:v>
                </c:pt>
                <c:pt idx="61">
                  <c:v>0.31</c:v>
                </c:pt>
                <c:pt idx="62">
                  <c:v>0.23</c:v>
                </c:pt>
                <c:pt idx="63">
                  <c:v>0.1</c:v>
                </c:pt>
                <c:pt idx="64">
                  <c:v>0.04</c:v>
                </c:pt>
                <c:pt idx="65">
                  <c:v>0.34</c:v>
                </c:pt>
                <c:pt idx="66">
                  <c:v>0.62</c:v>
                </c:pt>
                <c:pt idx="67">
                  <c:v>0.59</c:v>
                </c:pt>
                <c:pt idx="68">
                  <c:v>0.4</c:v>
                </c:pt>
                <c:pt idx="69">
                  <c:v>0.24</c:v>
                </c:pt>
                <c:pt idx="70">
                  <c:v>0.18</c:v>
                </c:pt>
                <c:pt idx="71">
                  <c:v>0.32</c:v>
                </c:pt>
                <c:pt idx="72">
                  <c:v>0.26</c:v>
                </c:pt>
                <c:pt idx="73">
                  <c:v>0.93</c:v>
                </c:pt>
                <c:pt idx="74">
                  <c:v>0.99</c:v>
                </c:pt>
                <c:pt idx="75">
                  <c:v>0.99</c:v>
                </c:pt>
                <c:pt idx="76">
                  <c:v>0.99</c:v>
                </c:pt>
                <c:pt idx="77">
                  <c:v>0.95</c:v>
                </c:pt>
                <c:pt idx="78">
                  <c:v>0.93</c:v>
                </c:pt>
                <c:pt idx="79">
                  <c:v>0.14000000000000001</c:v>
                </c:pt>
                <c:pt idx="80">
                  <c:v>0.01</c:v>
                </c:pt>
                <c:pt idx="81">
                  <c:v>0.01</c:v>
                </c:pt>
                <c:pt idx="82">
                  <c:v>0.26</c:v>
                </c:pt>
                <c:pt idx="83">
                  <c:v>0.28000000000000003</c:v>
                </c:pt>
                <c:pt idx="84">
                  <c:v>0.34</c:v>
                </c:pt>
                <c:pt idx="85">
                  <c:v>0.28000000000000003</c:v>
                </c:pt>
                <c:pt idx="86">
                  <c:v>7.0000000000000007E-2</c:v>
                </c:pt>
                <c:pt idx="87">
                  <c:v>0.08</c:v>
                </c:pt>
                <c:pt idx="88">
                  <c:v>7.0000000000000007E-2</c:v>
                </c:pt>
                <c:pt idx="89">
                  <c:v>0.08</c:v>
                </c:pt>
                <c:pt idx="90">
                  <c:v>0.08</c:v>
                </c:pt>
                <c:pt idx="91">
                  <c:v>0.01</c:v>
                </c:pt>
                <c:pt idx="92">
                  <c:v>0</c:v>
                </c:pt>
                <c:pt idx="93">
                  <c:v>0.26</c:v>
                </c:pt>
                <c:pt idx="94">
                  <c:v>0.28999999999999998</c:v>
                </c:pt>
                <c:pt idx="95">
                  <c:v>1</c:v>
                </c:pt>
                <c:pt idx="96">
                  <c:v>1</c:v>
                </c:pt>
                <c:pt idx="97">
                  <c:v>1</c:v>
                </c:pt>
                <c:pt idx="98">
                  <c:v>1</c:v>
                </c:pt>
                <c:pt idx="99">
                  <c:v>1</c:v>
                </c:pt>
                <c:pt idx="100">
                  <c:v>0.87</c:v>
                </c:pt>
                <c:pt idx="101">
                  <c:v>0.26</c:v>
                </c:pt>
                <c:pt idx="102">
                  <c:v>0.34</c:v>
                </c:pt>
                <c:pt idx="103">
                  <c:v>0.36</c:v>
                </c:pt>
                <c:pt idx="104">
                  <c:v>0.93</c:v>
                </c:pt>
                <c:pt idx="105">
                  <c:v>1</c:v>
                </c:pt>
                <c:pt idx="106">
                  <c:v>1</c:v>
                </c:pt>
                <c:pt idx="10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817</c:v>
                </c:pt>
                <c:pt idx="27">
                  <c:v>45016</c:v>
                </c:pt>
                <c:pt idx="28">
                  <c:v>87070</c:v>
                </c:pt>
                <c:pt idx="29">
                  <c:v>8099</c:v>
                </c:pt>
                <c:pt idx="30">
                  <c:v>342</c:v>
                </c:pt>
                <c:pt idx="31">
                  <c:v>159967</c:v>
                </c:pt>
                <c:pt idx="32">
                  <c:v>383878</c:v>
                </c:pt>
                <c:pt idx="33">
                  <c:v>385926</c:v>
                </c:pt>
                <c:pt idx="34">
                  <c:v>387201</c:v>
                </c:pt>
                <c:pt idx="35">
                  <c:v>387973</c:v>
                </c:pt>
                <c:pt idx="36">
                  <c:v>369603</c:v>
                </c:pt>
                <c:pt idx="37">
                  <c:v>362386</c:v>
                </c:pt>
                <c:pt idx="38">
                  <c:v>354421</c:v>
                </c:pt>
                <c:pt idx="39">
                  <c:v>376092</c:v>
                </c:pt>
                <c:pt idx="40">
                  <c:v>387460</c:v>
                </c:pt>
                <c:pt idx="41">
                  <c:v>379727</c:v>
                </c:pt>
                <c:pt idx="42">
                  <c:v>360804</c:v>
                </c:pt>
                <c:pt idx="43">
                  <c:v>36320</c:v>
                </c:pt>
                <c:pt idx="44">
                  <c:v>43639</c:v>
                </c:pt>
                <c:pt idx="45">
                  <c:v>55831</c:v>
                </c:pt>
                <c:pt idx="46">
                  <c:v>83752</c:v>
                </c:pt>
                <c:pt idx="47">
                  <c:v>101123</c:v>
                </c:pt>
                <c:pt idx="48">
                  <c:v>170843</c:v>
                </c:pt>
                <c:pt idx="49">
                  <c:v>161549</c:v>
                </c:pt>
                <c:pt idx="50">
                  <c:v>277060</c:v>
                </c:pt>
                <c:pt idx="51">
                  <c:v>318873</c:v>
                </c:pt>
                <c:pt idx="52">
                  <c:v>7941</c:v>
                </c:pt>
                <c:pt idx="53">
                  <c:v>13646</c:v>
                </c:pt>
                <c:pt idx="54">
                  <c:v>5922</c:v>
                </c:pt>
                <c:pt idx="55">
                  <c:v>2623</c:v>
                </c:pt>
                <c:pt idx="56">
                  <c:v>1878</c:v>
                </c:pt>
                <c:pt idx="57">
                  <c:v>2035</c:v>
                </c:pt>
                <c:pt idx="58">
                  <c:v>37369</c:v>
                </c:pt>
                <c:pt idx="59">
                  <c:v>113790</c:v>
                </c:pt>
                <c:pt idx="60">
                  <c:v>41119</c:v>
                </c:pt>
                <c:pt idx="61">
                  <c:v>1961</c:v>
                </c:pt>
                <c:pt idx="62">
                  <c:v>1091</c:v>
                </c:pt>
                <c:pt idx="63">
                  <c:v>114890</c:v>
                </c:pt>
                <c:pt idx="64">
                  <c:v>76066</c:v>
                </c:pt>
                <c:pt idx="65">
                  <c:v>68088</c:v>
                </c:pt>
                <c:pt idx="66">
                  <c:v>73937</c:v>
                </c:pt>
                <c:pt idx="67">
                  <c:v>113434</c:v>
                </c:pt>
                <c:pt idx="68">
                  <c:v>69373</c:v>
                </c:pt>
                <c:pt idx="69">
                  <c:v>70594</c:v>
                </c:pt>
                <c:pt idx="70">
                  <c:v>61619</c:v>
                </c:pt>
                <c:pt idx="71">
                  <c:v>70200</c:v>
                </c:pt>
                <c:pt idx="72">
                  <c:v>86091</c:v>
                </c:pt>
                <c:pt idx="73">
                  <c:v>629</c:v>
                </c:pt>
                <c:pt idx="74">
                  <c:v>883</c:v>
                </c:pt>
                <c:pt idx="75">
                  <c:v>1093</c:v>
                </c:pt>
                <c:pt idx="76">
                  <c:v>1774</c:v>
                </c:pt>
                <c:pt idx="77">
                  <c:v>724</c:v>
                </c:pt>
                <c:pt idx="78">
                  <c:v>1595</c:v>
                </c:pt>
                <c:pt idx="79">
                  <c:v>1308</c:v>
                </c:pt>
                <c:pt idx="80">
                  <c:v>1173</c:v>
                </c:pt>
                <c:pt idx="81">
                  <c:v>1189</c:v>
                </c:pt>
                <c:pt idx="82">
                  <c:v>1017</c:v>
                </c:pt>
                <c:pt idx="83">
                  <c:v>1031</c:v>
                </c:pt>
                <c:pt idx="84">
                  <c:v>1969</c:v>
                </c:pt>
                <c:pt idx="85">
                  <c:v>687</c:v>
                </c:pt>
                <c:pt idx="86">
                  <c:v>1041</c:v>
                </c:pt>
                <c:pt idx="87">
                  <c:v>708</c:v>
                </c:pt>
                <c:pt idx="88">
                  <c:v>841</c:v>
                </c:pt>
                <c:pt idx="89">
                  <c:v>711</c:v>
                </c:pt>
                <c:pt idx="90">
                  <c:v>14795</c:v>
                </c:pt>
                <c:pt idx="91">
                  <c:v>39341</c:v>
                </c:pt>
                <c:pt idx="92">
                  <c:v>78889</c:v>
                </c:pt>
                <c:pt idx="93">
                  <c:v>105227</c:v>
                </c:pt>
                <c:pt idx="94">
                  <c:v>73897</c:v>
                </c:pt>
                <c:pt idx="95">
                  <c:v>37830</c:v>
                </c:pt>
                <c:pt idx="96">
                  <c:v>48221</c:v>
                </c:pt>
                <c:pt idx="97">
                  <c:v>59032</c:v>
                </c:pt>
                <c:pt idx="98">
                  <c:v>68742</c:v>
                </c:pt>
                <c:pt idx="99">
                  <c:v>144667</c:v>
                </c:pt>
                <c:pt idx="100">
                  <c:v>199436</c:v>
                </c:pt>
                <c:pt idx="101">
                  <c:v>186682</c:v>
                </c:pt>
                <c:pt idx="102">
                  <c:v>200065</c:v>
                </c:pt>
                <c:pt idx="103">
                  <c:v>288027</c:v>
                </c:pt>
                <c:pt idx="104">
                  <c:v>3827</c:v>
                </c:pt>
                <c:pt idx="105">
                  <c:v>1214</c:v>
                </c:pt>
                <c:pt idx="106">
                  <c:v>452</c:v>
                </c:pt>
                <c:pt idx="107">
                  <c:v>79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413078</c:v>
                </c:pt>
                <c:pt idx="27">
                  <c:v>359809</c:v>
                </c:pt>
                <c:pt idx="28">
                  <c:v>339699</c:v>
                </c:pt>
                <c:pt idx="29">
                  <c:v>382672</c:v>
                </c:pt>
                <c:pt idx="30">
                  <c:v>418191</c:v>
                </c:pt>
                <c:pt idx="31">
                  <c:v>246338</c:v>
                </c:pt>
                <c:pt idx="32">
                  <c:v>33830</c:v>
                </c:pt>
                <c:pt idx="33">
                  <c:v>18910</c:v>
                </c:pt>
                <c:pt idx="34">
                  <c:v>16355</c:v>
                </c:pt>
                <c:pt idx="35">
                  <c:v>17154</c:v>
                </c:pt>
                <c:pt idx="36">
                  <c:v>15724</c:v>
                </c:pt>
                <c:pt idx="37">
                  <c:v>17402</c:v>
                </c:pt>
                <c:pt idx="38">
                  <c:v>25195</c:v>
                </c:pt>
                <c:pt idx="39">
                  <c:v>30281</c:v>
                </c:pt>
                <c:pt idx="40">
                  <c:v>34965</c:v>
                </c:pt>
                <c:pt idx="41">
                  <c:v>36921</c:v>
                </c:pt>
                <c:pt idx="42">
                  <c:v>40367</c:v>
                </c:pt>
                <c:pt idx="43">
                  <c:v>382499</c:v>
                </c:pt>
                <c:pt idx="44">
                  <c:v>386236</c:v>
                </c:pt>
                <c:pt idx="45">
                  <c:v>362534</c:v>
                </c:pt>
                <c:pt idx="46">
                  <c:v>334080</c:v>
                </c:pt>
                <c:pt idx="47">
                  <c:v>361103</c:v>
                </c:pt>
                <c:pt idx="48">
                  <c:v>361113</c:v>
                </c:pt>
                <c:pt idx="49">
                  <c:v>374213</c:v>
                </c:pt>
                <c:pt idx="50">
                  <c:v>415299</c:v>
                </c:pt>
                <c:pt idx="51">
                  <c:v>321245</c:v>
                </c:pt>
                <c:pt idx="52">
                  <c:v>355141</c:v>
                </c:pt>
                <c:pt idx="53">
                  <c:v>311361</c:v>
                </c:pt>
                <c:pt idx="54">
                  <c:v>304778</c:v>
                </c:pt>
                <c:pt idx="55">
                  <c:v>330437</c:v>
                </c:pt>
                <c:pt idx="56">
                  <c:v>348414</c:v>
                </c:pt>
                <c:pt idx="57">
                  <c:v>348829</c:v>
                </c:pt>
                <c:pt idx="58">
                  <c:v>291943</c:v>
                </c:pt>
                <c:pt idx="59">
                  <c:v>283770</c:v>
                </c:pt>
                <c:pt idx="60">
                  <c:v>330325</c:v>
                </c:pt>
                <c:pt idx="61">
                  <c:v>357651</c:v>
                </c:pt>
                <c:pt idx="62">
                  <c:v>336754</c:v>
                </c:pt>
                <c:pt idx="63">
                  <c:v>265432</c:v>
                </c:pt>
                <c:pt idx="64">
                  <c:v>296721</c:v>
                </c:pt>
                <c:pt idx="65">
                  <c:v>293617</c:v>
                </c:pt>
                <c:pt idx="66">
                  <c:v>277351</c:v>
                </c:pt>
                <c:pt idx="67">
                  <c:v>282626</c:v>
                </c:pt>
                <c:pt idx="68">
                  <c:v>283504</c:v>
                </c:pt>
                <c:pt idx="69">
                  <c:v>301249</c:v>
                </c:pt>
                <c:pt idx="70">
                  <c:v>302991</c:v>
                </c:pt>
                <c:pt idx="71">
                  <c:v>278347</c:v>
                </c:pt>
                <c:pt idx="72">
                  <c:v>303601</c:v>
                </c:pt>
                <c:pt idx="73">
                  <c:v>351703</c:v>
                </c:pt>
                <c:pt idx="74">
                  <c:v>382362</c:v>
                </c:pt>
                <c:pt idx="75">
                  <c:v>356831</c:v>
                </c:pt>
                <c:pt idx="76">
                  <c:v>355925</c:v>
                </c:pt>
                <c:pt idx="77">
                  <c:v>353581</c:v>
                </c:pt>
                <c:pt idx="78">
                  <c:v>380620</c:v>
                </c:pt>
                <c:pt idx="79">
                  <c:v>353302</c:v>
                </c:pt>
                <c:pt idx="80">
                  <c:v>349918</c:v>
                </c:pt>
                <c:pt idx="81">
                  <c:v>347991</c:v>
                </c:pt>
                <c:pt idx="82">
                  <c:v>363798</c:v>
                </c:pt>
                <c:pt idx="83">
                  <c:v>358383</c:v>
                </c:pt>
                <c:pt idx="84">
                  <c:v>354662</c:v>
                </c:pt>
                <c:pt idx="85">
                  <c:v>350662</c:v>
                </c:pt>
                <c:pt idx="86">
                  <c:v>350954</c:v>
                </c:pt>
                <c:pt idx="87">
                  <c:v>356156</c:v>
                </c:pt>
                <c:pt idx="88">
                  <c:v>332720</c:v>
                </c:pt>
                <c:pt idx="89">
                  <c:v>331967</c:v>
                </c:pt>
                <c:pt idx="90">
                  <c:v>316884</c:v>
                </c:pt>
                <c:pt idx="91">
                  <c:v>347841</c:v>
                </c:pt>
                <c:pt idx="92">
                  <c:v>273373</c:v>
                </c:pt>
                <c:pt idx="93">
                  <c:v>270767</c:v>
                </c:pt>
                <c:pt idx="94">
                  <c:v>294533</c:v>
                </c:pt>
                <c:pt idx="95">
                  <c:v>335538</c:v>
                </c:pt>
                <c:pt idx="96">
                  <c:v>344462</c:v>
                </c:pt>
                <c:pt idx="97">
                  <c:v>326396</c:v>
                </c:pt>
                <c:pt idx="98">
                  <c:v>322897</c:v>
                </c:pt>
                <c:pt idx="99">
                  <c:v>259799</c:v>
                </c:pt>
                <c:pt idx="100">
                  <c:v>283362</c:v>
                </c:pt>
                <c:pt idx="101">
                  <c:v>316565</c:v>
                </c:pt>
                <c:pt idx="102">
                  <c:v>363959</c:v>
                </c:pt>
                <c:pt idx="103">
                  <c:v>321048</c:v>
                </c:pt>
                <c:pt idx="104">
                  <c:v>330818</c:v>
                </c:pt>
                <c:pt idx="105">
                  <c:v>306518</c:v>
                </c:pt>
                <c:pt idx="106">
                  <c:v>320360</c:v>
                </c:pt>
                <c:pt idx="107">
                  <c:v>28616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13895</c:v>
                </c:pt>
                <c:pt idx="27">
                  <c:v>404825</c:v>
                </c:pt>
                <c:pt idx="28">
                  <c:v>426769</c:v>
                </c:pt>
                <c:pt idx="29">
                  <c:v>390771</c:v>
                </c:pt>
                <c:pt idx="30">
                  <c:v>418533</c:v>
                </c:pt>
                <c:pt idx="31">
                  <c:v>406305</c:v>
                </c:pt>
                <c:pt idx="32">
                  <c:v>417708</c:v>
                </c:pt>
                <c:pt idx="33">
                  <c:v>404836</c:v>
                </c:pt>
                <c:pt idx="34">
                  <c:v>403556</c:v>
                </c:pt>
                <c:pt idx="35">
                  <c:v>405127</c:v>
                </c:pt>
                <c:pt idx="36">
                  <c:v>385327</c:v>
                </c:pt>
                <c:pt idx="37">
                  <c:v>379788</c:v>
                </c:pt>
                <c:pt idx="38">
                  <c:v>379616</c:v>
                </c:pt>
                <c:pt idx="39">
                  <c:v>406373</c:v>
                </c:pt>
                <c:pt idx="40">
                  <c:v>422425</c:v>
                </c:pt>
                <c:pt idx="41">
                  <c:v>416648</c:v>
                </c:pt>
                <c:pt idx="42">
                  <c:v>401171</c:v>
                </c:pt>
                <c:pt idx="43">
                  <c:v>418819</c:v>
                </c:pt>
                <c:pt idx="44">
                  <c:v>429875</c:v>
                </c:pt>
                <c:pt idx="45">
                  <c:v>418365</c:v>
                </c:pt>
                <c:pt idx="46">
                  <c:v>417832</c:v>
                </c:pt>
                <c:pt idx="47">
                  <c:v>462226</c:v>
                </c:pt>
                <c:pt idx="48">
                  <c:v>531956</c:v>
                </c:pt>
                <c:pt idx="49">
                  <c:v>535762</c:v>
                </c:pt>
                <c:pt idx="50">
                  <c:v>692359</c:v>
                </c:pt>
                <c:pt idx="51">
                  <c:v>640118</c:v>
                </c:pt>
                <c:pt idx="52">
                  <c:v>363082</c:v>
                </c:pt>
                <c:pt idx="53">
                  <c:v>325007</c:v>
                </c:pt>
                <c:pt idx="54">
                  <c:v>310700</c:v>
                </c:pt>
                <c:pt idx="55">
                  <c:v>333060</c:v>
                </c:pt>
                <c:pt idx="56">
                  <c:v>350292</c:v>
                </c:pt>
                <c:pt idx="57">
                  <c:v>350864</c:v>
                </c:pt>
                <c:pt idx="58">
                  <c:v>329312</c:v>
                </c:pt>
                <c:pt idx="59">
                  <c:v>397560</c:v>
                </c:pt>
                <c:pt idx="60">
                  <c:v>371444</c:v>
                </c:pt>
                <c:pt idx="61">
                  <c:v>359612</c:v>
                </c:pt>
                <c:pt idx="62">
                  <c:v>337845</c:v>
                </c:pt>
                <c:pt idx="63">
                  <c:v>380322</c:v>
                </c:pt>
                <c:pt idx="64">
                  <c:v>372787</c:v>
                </c:pt>
                <c:pt idx="65">
                  <c:v>361705</c:v>
                </c:pt>
                <c:pt idx="66">
                  <c:v>351288</c:v>
                </c:pt>
                <c:pt idx="67">
                  <c:v>396060</c:v>
                </c:pt>
                <c:pt idx="68">
                  <c:v>352877</c:v>
                </c:pt>
                <c:pt idx="69">
                  <c:v>371843</c:v>
                </c:pt>
                <c:pt idx="70">
                  <c:v>364610</c:v>
                </c:pt>
                <c:pt idx="71">
                  <c:v>348547</c:v>
                </c:pt>
                <c:pt idx="72">
                  <c:v>389692</c:v>
                </c:pt>
                <c:pt idx="73">
                  <c:v>352332</c:v>
                </c:pt>
                <c:pt idx="74">
                  <c:v>383245</c:v>
                </c:pt>
                <c:pt idx="75">
                  <c:v>357924</c:v>
                </c:pt>
                <c:pt idx="76">
                  <c:v>357699</c:v>
                </c:pt>
                <c:pt idx="77">
                  <c:v>354305</c:v>
                </c:pt>
                <c:pt idx="78">
                  <c:v>382215</c:v>
                </c:pt>
                <c:pt idx="79">
                  <c:v>354610</c:v>
                </c:pt>
                <c:pt idx="80">
                  <c:v>351091</c:v>
                </c:pt>
                <c:pt idx="81">
                  <c:v>349180</c:v>
                </c:pt>
                <c:pt idx="82">
                  <c:v>364815</c:v>
                </c:pt>
                <c:pt idx="83">
                  <c:v>359414</c:v>
                </c:pt>
                <c:pt idx="84">
                  <c:v>356631</c:v>
                </c:pt>
                <c:pt idx="85">
                  <c:v>351349</c:v>
                </c:pt>
                <c:pt idx="86">
                  <c:v>351995</c:v>
                </c:pt>
                <c:pt idx="87">
                  <c:v>356864</c:v>
                </c:pt>
                <c:pt idx="88">
                  <c:v>333561</c:v>
                </c:pt>
                <c:pt idx="89">
                  <c:v>332678</c:v>
                </c:pt>
                <c:pt idx="90">
                  <c:v>331679</c:v>
                </c:pt>
                <c:pt idx="91">
                  <c:v>387182</c:v>
                </c:pt>
                <c:pt idx="92">
                  <c:v>352262</c:v>
                </c:pt>
                <c:pt idx="93">
                  <c:v>375994</c:v>
                </c:pt>
                <c:pt idx="94">
                  <c:v>368430</c:v>
                </c:pt>
                <c:pt idx="95">
                  <c:v>373368</c:v>
                </c:pt>
                <c:pt idx="96">
                  <c:v>392683</c:v>
                </c:pt>
                <c:pt idx="97">
                  <c:v>385428</c:v>
                </c:pt>
                <c:pt idx="98">
                  <c:v>391639</c:v>
                </c:pt>
                <c:pt idx="99">
                  <c:v>404466</c:v>
                </c:pt>
                <c:pt idx="100">
                  <c:v>482798</c:v>
                </c:pt>
                <c:pt idx="101">
                  <c:v>503247</c:v>
                </c:pt>
                <c:pt idx="102">
                  <c:v>564024</c:v>
                </c:pt>
                <c:pt idx="103">
                  <c:v>609075</c:v>
                </c:pt>
                <c:pt idx="104">
                  <c:v>334645</c:v>
                </c:pt>
                <c:pt idx="105">
                  <c:v>307732</c:v>
                </c:pt>
                <c:pt idx="106">
                  <c:v>320812</c:v>
                </c:pt>
                <c:pt idx="107">
                  <c:v>28695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362951</c:v>
                </c:pt>
                <c:pt idx="1">
                  <c:v>361108</c:v>
                </c:pt>
                <c:pt idx="2">
                  <c:v>362673</c:v>
                </c:pt>
                <c:pt idx="3">
                  <c:v>362484</c:v>
                </c:pt>
                <c:pt idx="4">
                  <c:v>366123</c:v>
                </c:pt>
                <c:pt idx="5">
                  <c:v>368741</c:v>
                </c:pt>
                <c:pt idx="6">
                  <c:v>371037</c:v>
                </c:pt>
                <c:pt idx="7">
                  <c:v>373262</c:v>
                </c:pt>
                <c:pt idx="8">
                  <c:v>380605</c:v>
                </c:pt>
                <c:pt idx="9">
                  <c:v>382058</c:v>
                </c:pt>
                <c:pt idx="10">
                  <c:v>383337</c:v>
                </c:pt>
                <c:pt idx="11">
                  <c:v>382908</c:v>
                </c:pt>
                <c:pt idx="12">
                  <c:v>384340</c:v>
                </c:pt>
                <c:pt idx="13">
                  <c:v>378851</c:v>
                </c:pt>
                <c:pt idx="14">
                  <c:v>378237</c:v>
                </c:pt>
                <c:pt idx="15">
                  <c:v>377631</c:v>
                </c:pt>
                <c:pt idx="16">
                  <c:v>372988</c:v>
                </c:pt>
                <c:pt idx="17">
                  <c:v>376350</c:v>
                </c:pt>
                <c:pt idx="18">
                  <c:v>378043</c:v>
                </c:pt>
                <c:pt idx="19">
                  <c:v>384792</c:v>
                </c:pt>
                <c:pt idx="20">
                  <c:v>383937</c:v>
                </c:pt>
                <c:pt idx="21">
                  <c:v>387401</c:v>
                </c:pt>
                <c:pt idx="22">
                  <c:v>389668</c:v>
                </c:pt>
                <c:pt idx="23">
                  <c:v>396285</c:v>
                </c:pt>
                <c:pt idx="24">
                  <c:v>401565</c:v>
                </c:pt>
                <c:pt idx="25">
                  <c:v>406209</c:v>
                </c:pt>
                <c:pt idx="26">
                  <c:v>404495</c:v>
                </c:pt>
                <c:pt idx="27">
                  <c:v>404782</c:v>
                </c:pt>
                <c:pt idx="28">
                  <c:v>407151</c:v>
                </c:pt>
                <c:pt idx="29">
                  <c:v>410275</c:v>
                </c:pt>
                <c:pt idx="30">
                  <c:v>410881</c:v>
                </c:pt>
                <c:pt idx="31">
                  <c:v>411777</c:v>
                </c:pt>
                <c:pt idx="32">
                  <c:v>412647</c:v>
                </c:pt>
                <c:pt idx="33">
                  <c:v>406991</c:v>
                </c:pt>
                <c:pt idx="34">
                  <c:v>417392</c:v>
                </c:pt>
                <c:pt idx="35">
                  <c:v>416052</c:v>
                </c:pt>
                <c:pt idx="36">
                  <c:v>414776</c:v>
                </c:pt>
                <c:pt idx="37">
                  <c:v>411750</c:v>
                </c:pt>
                <c:pt idx="38">
                  <c:v>412997</c:v>
                </c:pt>
                <c:pt idx="39">
                  <c:v>416322</c:v>
                </c:pt>
                <c:pt idx="40">
                  <c:v>438085</c:v>
                </c:pt>
                <c:pt idx="41">
                  <c:v>441952</c:v>
                </c:pt>
                <c:pt idx="42">
                  <c:v>414516</c:v>
                </c:pt>
                <c:pt idx="43">
                  <c:v>392726</c:v>
                </c:pt>
                <c:pt idx="44">
                  <c:v>401085</c:v>
                </c:pt>
                <c:pt idx="45">
                  <c:v>424396</c:v>
                </c:pt>
                <c:pt idx="46">
                  <c:v>421355</c:v>
                </c:pt>
                <c:pt idx="47">
                  <c:v>424738</c:v>
                </c:pt>
                <c:pt idx="48">
                  <c:v>413591</c:v>
                </c:pt>
                <c:pt idx="49">
                  <c:v>406878</c:v>
                </c:pt>
                <c:pt idx="50">
                  <c:v>401227</c:v>
                </c:pt>
                <c:pt idx="51">
                  <c:v>406839</c:v>
                </c:pt>
                <c:pt idx="52">
                  <c:v>381277</c:v>
                </c:pt>
                <c:pt idx="53">
                  <c:v>371584</c:v>
                </c:pt>
                <c:pt idx="54">
                  <c:v>352264</c:v>
                </c:pt>
                <c:pt idx="55">
                  <c:v>332882</c:v>
                </c:pt>
                <c:pt idx="56">
                  <c:v>340678</c:v>
                </c:pt>
                <c:pt idx="57">
                  <c:v>343785</c:v>
                </c:pt>
                <c:pt idx="58">
                  <c:v>348065</c:v>
                </c:pt>
                <c:pt idx="59">
                  <c:v>352945</c:v>
                </c:pt>
                <c:pt idx="60">
                  <c:v>358284</c:v>
                </c:pt>
                <c:pt idx="61">
                  <c:v>361081</c:v>
                </c:pt>
                <c:pt idx="62">
                  <c:v>362276</c:v>
                </c:pt>
                <c:pt idx="63">
                  <c:v>364638</c:v>
                </c:pt>
                <c:pt idx="64">
                  <c:v>364377</c:v>
                </c:pt>
                <c:pt idx="65">
                  <c:v>361733</c:v>
                </c:pt>
                <c:pt idx="66">
                  <c:v>361289</c:v>
                </c:pt>
                <c:pt idx="67">
                  <c:v>364500</c:v>
                </c:pt>
                <c:pt idx="68">
                  <c:v>360501</c:v>
                </c:pt>
                <c:pt idx="69">
                  <c:v>362895</c:v>
                </c:pt>
                <c:pt idx="70">
                  <c:v>362326</c:v>
                </c:pt>
                <c:pt idx="71">
                  <c:v>366872</c:v>
                </c:pt>
                <c:pt idx="72">
                  <c:v>364699</c:v>
                </c:pt>
                <c:pt idx="73">
                  <c:v>364327</c:v>
                </c:pt>
                <c:pt idx="74">
                  <c:v>362717</c:v>
                </c:pt>
                <c:pt idx="75">
                  <c:v>365331</c:v>
                </c:pt>
                <c:pt idx="76">
                  <c:v>366152</c:v>
                </c:pt>
                <c:pt idx="77">
                  <c:v>361971</c:v>
                </c:pt>
                <c:pt idx="78">
                  <c:v>361519</c:v>
                </c:pt>
                <c:pt idx="79">
                  <c:v>359216</c:v>
                </c:pt>
                <c:pt idx="80">
                  <c:v>359388</c:v>
                </c:pt>
                <c:pt idx="81">
                  <c:v>359256</c:v>
                </c:pt>
                <c:pt idx="82">
                  <c:v>358855</c:v>
                </c:pt>
                <c:pt idx="83">
                  <c:v>355107</c:v>
                </c:pt>
                <c:pt idx="84">
                  <c:v>355381</c:v>
                </c:pt>
                <c:pt idx="85">
                  <c:v>353078</c:v>
                </c:pt>
                <c:pt idx="86">
                  <c:v>350996</c:v>
                </c:pt>
                <c:pt idx="87">
                  <c:v>346874</c:v>
                </c:pt>
                <c:pt idx="88">
                  <c:v>349794</c:v>
                </c:pt>
                <c:pt idx="89">
                  <c:v>348224</c:v>
                </c:pt>
                <c:pt idx="90">
                  <c:v>347344</c:v>
                </c:pt>
                <c:pt idx="91">
                  <c:v>345920</c:v>
                </c:pt>
                <c:pt idx="92">
                  <c:v>350101</c:v>
                </c:pt>
                <c:pt idx="93">
                  <c:v>370938</c:v>
                </c:pt>
                <c:pt idx="94">
                  <c:v>376117</c:v>
                </c:pt>
                <c:pt idx="95">
                  <c:v>380472</c:v>
                </c:pt>
                <c:pt idx="96">
                  <c:v>379797</c:v>
                </c:pt>
                <c:pt idx="97">
                  <c:v>382321</c:v>
                </c:pt>
                <c:pt idx="98">
                  <c:v>383087</c:v>
                </c:pt>
                <c:pt idx="99">
                  <c:v>382319</c:v>
                </c:pt>
                <c:pt idx="100">
                  <c:v>385024</c:v>
                </c:pt>
                <c:pt idx="101">
                  <c:v>383192</c:v>
                </c:pt>
                <c:pt idx="102">
                  <c:v>380204</c:v>
                </c:pt>
                <c:pt idx="103">
                  <c:v>379511</c:v>
                </c:pt>
                <c:pt idx="104">
                  <c:v>335951</c:v>
                </c:pt>
                <c:pt idx="105">
                  <c:v>315411</c:v>
                </c:pt>
                <c:pt idx="106">
                  <c:v>334484</c:v>
                </c:pt>
                <c:pt idx="107">
                  <c:v>32848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c:v>
                </c:pt>
                <c:pt idx="27">
                  <c:v>0.1</c:v>
                </c:pt>
                <c:pt idx="28">
                  <c:v>0.18</c:v>
                </c:pt>
                <c:pt idx="29">
                  <c:v>0.02</c:v>
                </c:pt>
                <c:pt idx="30">
                  <c:v>0</c:v>
                </c:pt>
                <c:pt idx="31">
                  <c:v>0.4</c:v>
                </c:pt>
                <c:pt idx="32">
                  <c:v>0.92</c:v>
                </c:pt>
                <c:pt idx="33">
                  <c:v>0.95</c:v>
                </c:pt>
                <c:pt idx="34">
                  <c:v>0.96</c:v>
                </c:pt>
                <c:pt idx="35">
                  <c:v>0.96</c:v>
                </c:pt>
                <c:pt idx="36">
                  <c:v>0.96</c:v>
                </c:pt>
                <c:pt idx="37">
                  <c:v>0.95</c:v>
                </c:pt>
                <c:pt idx="38">
                  <c:v>0.94</c:v>
                </c:pt>
                <c:pt idx="39">
                  <c:v>0.93</c:v>
                </c:pt>
                <c:pt idx="40">
                  <c:v>0.92</c:v>
                </c:pt>
                <c:pt idx="41">
                  <c:v>0.92</c:v>
                </c:pt>
                <c:pt idx="42">
                  <c:v>0.91</c:v>
                </c:pt>
                <c:pt idx="43">
                  <c:v>0.05</c:v>
                </c:pt>
                <c:pt idx="44">
                  <c:v>0.06</c:v>
                </c:pt>
                <c:pt idx="45">
                  <c:v>0.09</c:v>
                </c:pt>
                <c:pt idx="46">
                  <c:v>0.13</c:v>
                </c:pt>
                <c:pt idx="47">
                  <c:v>0.15</c:v>
                </c:pt>
                <c:pt idx="48">
                  <c:v>0.24</c:v>
                </c:pt>
                <c:pt idx="49">
                  <c:v>0.22</c:v>
                </c:pt>
                <c:pt idx="50">
                  <c:v>0.3</c:v>
                </c:pt>
                <c:pt idx="51">
                  <c:v>0.5</c:v>
                </c:pt>
                <c:pt idx="52">
                  <c:v>0.03</c:v>
                </c:pt>
                <c:pt idx="53">
                  <c:v>0.06</c:v>
                </c:pt>
                <c:pt idx="54">
                  <c:v>0.03</c:v>
                </c:pt>
                <c:pt idx="55">
                  <c:v>0.01</c:v>
                </c:pt>
                <c:pt idx="56">
                  <c:v>0.01</c:v>
                </c:pt>
                <c:pt idx="57">
                  <c:v>0.01</c:v>
                </c:pt>
                <c:pt idx="58">
                  <c:v>0.1</c:v>
                </c:pt>
                <c:pt idx="59">
                  <c:v>0.3</c:v>
                </c:pt>
                <c:pt idx="60">
                  <c:v>0.11</c:v>
                </c:pt>
                <c:pt idx="61">
                  <c:v>0.01</c:v>
                </c:pt>
                <c:pt idx="62">
                  <c:v>0</c:v>
                </c:pt>
                <c:pt idx="63">
                  <c:v>0.31</c:v>
                </c:pt>
                <c:pt idx="64">
                  <c:v>0.22</c:v>
                </c:pt>
                <c:pt idx="65">
                  <c:v>0.2</c:v>
                </c:pt>
                <c:pt idx="66">
                  <c:v>0.22</c:v>
                </c:pt>
                <c:pt idx="67">
                  <c:v>0.31</c:v>
                </c:pt>
                <c:pt idx="68">
                  <c:v>0.21</c:v>
                </c:pt>
                <c:pt idx="69">
                  <c:v>0.21</c:v>
                </c:pt>
                <c:pt idx="70">
                  <c:v>0.18</c:v>
                </c:pt>
                <c:pt idx="71">
                  <c:v>0.22</c:v>
                </c:pt>
                <c:pt idx="72">
                  <c:v>0.24</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03</c:v>
                </c:pt>
                <c:pt idx="91">
                  <c:v>0.1</c:v>
                </c:pt>
                <c:pt idx="92">
                  <c:v>0.24</c:v>
                </c:pt>
                <c:pt idx="93">
                  <c:v>0.28999999999999998</c:v>
                </c:pt>
                <c:pt idx="94">
                  <c:v>0.19</c:v>
                </c:pt>
                <c:pt idx="95">
                  <c:v>0.08</c:v>
                </c:pt>
                <c:pt idx="96">
                  <c:v>0.1</c:v>
                </c:pt>
                <c:pt idx="97">
                  <c:v>0.12</c:v>
                </c:pt>
                <c:pt idx="98">
                  <c:v>0.14000000000000001</c:v>
                </c:pt>
                <c:pt idx="99">
                  <c:v>0.32</c:v>
                </c:pt>
                <c:pt idx="100">
                  <c:v>0.41</c:v>
                </c:pt>
                <c:pt idx="101">
                  <c:v>0.33</c:v>
                </c:pt>
                <c:pt idx="102">
                  <c:v>0.3</c:v>
                </c:pt>
                <c:pt idx="103">
                  <c:v>0.52</c:v>
                </c:pt>
                <c:pt idx="104">
                  <c:v>0.02</c:v>
                </c:pt>
                <c:pt idx="105">
                  <c:v>0.01</c:v>
                </c:pt>
                <c:pt idx="106">
                  <c:v>0</c:v>
                </c:pt>
                <c:pt idx="107">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2246</c:v>
                </c:pt>
                <c:pt idx="1">
                  <c:v>20921</c:v>
                </c:pt>
                <c:pt idx="2">
                  <c:v>22475</c:v>
                </c:pt>
                <c:pt idx="3">
                  <c:v>14977</c:v>
                </c:pt>
                <c:pt idx="4">
                  <c:v>10854</c:v>
                </c:pt>
                <c:pt idx="5">
                  <c:v>9352</c:v>
                </c:pt>
                <c:pt idx="6">
                  <c:v>12959</c:v>
                </c:pt>
                <c:pt idx="7">
                  <c:v>29121</c:v>
                </c:pt>
                <c:pt idx="8">
                  <c:v>12087</c:v>
                </c:pt>
                <c:pt idx="9">
                  <c:v>12068</c:v>
                </c:pt>
                <c:pt idx="10">
                  <c:v>26350</c:v>
                </c:pt>
                <c:pt idx="11">
                  <c:v>16367</c:v>
                </c:pt>
                <c:pt idx="12">
                  <c:v>8284</c:v>
                </c:pt>
                <c:pt idx="13">
                  <c:v>8474</c:v>
                </c:pt>
                <c:pt idx="14">
                  <c:v>12648</c:v>
                </c:pt>
                <c:pt idx="15">
                  <c:v>32925</c:v>
                </c:pt>
                <c:pt idx="16">
                  <c:v>12607</c:v>
                </c:pt>
                <c:pt idx="17">
                  <c:v>1590</c:v>
                </c:pt>
                <c:pt idx="18">
                  <c:v>2661</c:v>
                </c:pt>
                <c:pt idx="19">
                  <c:v>2380</c:v>
                </c:pt>
                <c:pt idx="20">
                  <c:v>2951</c:v>
                </c:pt>
                <c:pt idx="21">
                  <c:v>792</c:v>
                </c:pt>
                <c:pt idx="22">
                  <c:v>255</c:v>
                </c:pt>
                <c:pt idx="23">
                  <c:v>462</c:v>
                </c:pt>
                <c:pt idx="24">
                  <c:v>149</c:v>
                </c:pt>
                <c:pt idx="25">
                  <c:v>443</c:v>
                </c:pt>
                <c:pt idx="26">
                  <c:v>432</c:v>
                </c:pt>
                <c:pt idx="27">
                  <c:v>6852</c:v>
                </c:pt>
                <c:pt idx="28">
                  <c:v>22746</c:v>
                </c:pt>
                <c:pt idx="29">
                  <c:v>10300</c:v>
                </c:pt>
                <c:pt idx="30">
                  <c:v>9507</c:v>
                </c:pt>
                <c:pt idx="31">
                  <c:v>8324</c:v>
                </c:pt>
                <c:pt idx="32">
                  <c:v>8289</c:v>
                </c:pt>
                <c:pt idx="33">
                  <c:v>8188</c:v>
                </c:pt>
                <c:pt idx="34">
                  <c:v>6002</c:v>
                </c:pt>
                <c:pt idx="35">
                  <c:v>1820</c:v>
                </c:pt>
                <c:pt idx="36">
                  <c:v>1023</c:v>
                </c:pt>
                <c:pt idx="37">
                  <c:v>529</c:v>
                </c:pt>
                <c:pt idx="38">
                  <c:v>3439</c:v>
                </c:pt>
                <c:pt idx="39">
                  <c:v>6735</c:v>
                </c:pt>
                <c:pt idx="40">
                  <c:v>35646</c:v>
                </c:pt>
                <c:pt idx="41">
                  <c:v>37932</c:v>
                </c:pt>
                <c:pt idx="42">
                  <c:v>41191</c:v>
                </c:pt>
                <c:pt idx="43">
                  <c:v>47917</c:v>
                </c:pt>
                <c:pt idx="44">
                  <c:v>47131</c:v>
                </c:pt>
                <c:pt idx="45">
                  <c:v>55689</c:v>
                </c:pt>
                <c:pt idx="46">
                  <c:v>89084</c:v>
                </c:pt>
                <c:pt idx="47">
                  <c:v>88415</c:v>
                </c:pt>
                <c:pt idx="48">
                  <c:v>113951</c:v>
                </c:pt>
                <c:pt idx="49">
                  <c:v>170333</c:v>
                </c:pt>
                <c:pt idx="50">
                  <c:v>295401</c:v>
                </c:pt>
                <c:pt idx="51">
                  <c:v>291838</c:v>
                </c:pt>
                <c:pt idx="52">
                  <c:v>7698</c:v>
                </c:pt>
                <c:pt idx="53">
                  <c:v>11244</c:v>
                </c:pt>
                <c:pt idx="54">
                  <c:v>4511</c:v>
                </c:pt>
                <c:pt idx="55">
                  <c:v>2334</c:v>
                </c:pt>
                <c:pt idx="56">
                  <c:v>1456</c:v>
                </c:pt>
                <c:pt idx="57">
                  <c:v>1254</c:v>
                </c:pt>
                <c:pt idx="58">
                  <c:v>11250</c:v>
                </c:pt>
                <c:pt idx="59">
                  <c:v>31534</c:v>
                </c:pt>
                <c:pt idx="60">
                  <c:v>20009</c:v>
                </c:pt>
                <c:pt idx="61">
                  <c:v>17736</c:v>
                </c:pt>
                <c:pt idx="62">
                  <c:v>20421</c:v>
                </c:pt>
                <c:pt idx="63">
                  <c:v>34044</c:v>
                </c:pt>
                <c:pt idx="64">
                  <c:v>19466</c:v>
                </c:pt>
                <c:pt idx="65">
                  <c:v>16299</c:v>
                </c:pt>
                <c:pt idx="66">
                  <c:v>19337</c:v>
                </c:pt>
                <c:pt idx="67">
                  <c:v>35541</c:v>
                </c:pt>
                <c:pt idx="68">
                  <c:v>18524</c:v>
                </c:pt>
                <c:pt idx="69">
                  <c:v>17376</c:v>
                </c:pt>
                <c:pt idx="70">
                  <c:v>15927</c:v>
                </c:pt>
                <c:pt idx="71">
                  <c:v>18467</c:v>
                </c:pt>
                <c:pt idx="72">
                  <c:v>19674</c:v>
                </c:pt>
                <c:pt idx="73">
                  <c:v>98</c:v>
                </c:pt>
                <c:pt idx="74">
                  <c:v>769</c:v>
                </c:pt>
                <c:pt idx="75">
                  <c:v>178</c:v>
                </c:pt>
                <c:pt idx="76">
                  <c:v>310</c:v>
                </c:pt>
                <c:pt idx="77">
                  <c:v>127</c:v>
                </c:pt>
                <c:pt idx="78">
                  <c:v>1015</c:v>
                </c:pt>
                <c:pt idx="79">
                  <c:v>8668</c:v>
                </c:pt>
                <c:pt idx="80">
                  <c:v>16592</c:v>
                </c:pt>
                <c:pt idx="81">
                  <c:v>17973</c:v>
                </c:pt>
                <c:pt idx="82">
                  <c:v>17405</c:v>
                </c:pt>
                <c:pt idx="83">
                  <c:v>4099</c:v>
                </c:pt>
                <c:pt idx="84">
                  <c:v>3252</c:v>
                </c:pt>
                <c:pt idx="85">
                  <c:v>712</c:v>
                </c:pt>
                <c:pt idx="86">
                  <c:v>2217</c:v>
                </c:pt>
                <c:pt idx="87">
                  <c:v>704</c:v>
                </c:pt>
                <c:pt idx="88">
                  <c:v>742</c:v>
                </c:pt>
                <c:pt idx="89">
                  <c:v>748</c:v>
                </c:pt>
                <c:pt idx="90">
                  <c:v>3492</c:v>
                </c:pt>
                <c:pt idx="91">
                  <c:v>8386</c:v>
                </c:pt>
                <c:pt idx="92">
                  <c:v>19901</c:v>
                </c:pt>
                <c:pt idx="93">
                  <c:v>38222</c:v>
                </c:pt>
                <c:pt idx="94">
                  <c:v>37535</c:v>
                </c:pt>
                <c:pt idx="95">
                  <c:v>34961</c:v>
                </c:pt>
                <c:pt idx="96">
                  <c:v>44305</c:v>
                </c:pt>
                <c:pt idx="97">
                  <c:v>53531</c:v>
                </c:pt>
                <c:pt idx="98">
                  <c:v>66493</c:v>
                </c:pt>
                <c:pt idx="99">
                  <c:v>107195</c:v>
                </c:pt>
                <c:pt idx="100">
                  <c:v>117801</c:v>
                </c:pt>
                <c:pt idx="101">
                  <c:v>162782</c:v>
                </c:pt>
                <c:pt idx="102">
                  <c:v>255092</c:v>
                </c:pt>
                <c:pt idx="103">
                  <c:v>457574</c:v>
                </c:pt>
                <c:pt idx="104">
                  <c:v>8754</c:v>
                </c:pt>
                <c:pt idx="105">
                  <c:v>2036</c:v>
                </c:pt>
                <c:pt idx="106">
                  <c:v>1084</c:v>
                </c:pt>
                <c:pt idx="107">
                  <c:v>72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5934</c:v>
                </c:pt>
                <c:pt idx="1">
                  <c:v>66396</c:v>
                </c:pt>
                <c:pt idx="2">
                  <c:v>63096</c:v>
                </c:pt>
                <c:pt idx="3">
                  <c:v>59268</c:v>
                </c:pt>
                <c:pt idx="4">
                  <c:v>59971</c:v>
                </c:pt>
                <c:pt idx="5">
                  <c:v>65177</c:v>
                </c:pt>
                <c:pt idx="6">
                  <c:v>59897</c:v>
                </c:pt>
                <c:pt idx="7">
                  <c:v>60871</c:v>
                </c:pt>
                <c:pt idx="8">
                  <c:v>69217</c:v>
                </c:pt>
                <c:pt idx="9">
                  <c:v>62708</c:v>
                </c:pt>
                <c:pt idx="10">
                  <c:v>65546</c:v>
                </c:pt>
                <c:pt idx="11">
                  <c:v>66112</c:v>
                </c:pt>
                <c:pt idx="12">
                  <c:v>67837</c:v>
                </c:pt>
                <c:pt idx="13">
                  <c:v>74892</c:v>
                </c:pt>
                <c:pt idx="14">
                  <c:v>61387</c:v>
                </c:pt>
                <c:pt idx="15">
                  <c:v>62739</c:v>
                </c:pt>
                <c:pt idx="16">
                  <c:v>66217</c:v>
                </c:pt>
                <c:pt idx="17">
                  <c:v>77171</c:v>
                </c:pt>
                <c:pt idx="18">
                  <c:v>71576</c:v>
                </c:pt>
                <c:pt idx="19">
                  <c:v>70921</c:v>
                </c:pt>
                <c:pt idx="20">
                  <c:v>81305</c:v>
                </c:pt>
                <c:pt idx="21">
                  <c:v>77279</c:v>
                </c:pt>
                <c:pt idx="22">
                  <c:v>75611</c:v>
                </c:pt>
                <c:pt idx="23">
                  <c:v>74544</c:v>
                </c:pt>
                <c:pt idx="24">
                  <c:v>75962</c:v>
                </c:pt>
                <c:pt idx="25">
                  <c:v>74655</c:v>
                </c:pt>
                <c:pt idx="26">
                  <c:v>78231</c:v>
                </c:pt>
                <c:pt idx="27">
                  <c:v>70252</c:v>
                </c:pt>
                <c:pt idx="28">
                  <c:v>67456</c:v>
                </c:pt>
                <c:pt idx="29">
                  <c:v>73610</c:v>
                </c:pt>
                <c:pt idx="30">
                  <c:v>74690</c:v>
                </c:pt>
                <c:pt idx="31">
                  <c:v>69175</c:v>
                </c:pt>
                <c:pt idx="32">
                  <c:v>72344</c:v>
                </c:pt>
                <c:pt idx="33">
                  <c:v>73541</c:v>
                </c:pt>
                <c:pt idx="34">
                  <c:v>85723</c:v>
                </c:pt>
                <c:pt idx="35">
                  <c:v>89953</c:v>
                </c:pt>
                <c:pt idx="36">
                  <c:v>79030</c:v>
                </c:pt>
                <c:pt idx="37">
                  <c:v>75170</c:v>
                </c:pt>
                <c:pt idx="38">
                  <c:v>68915</c:v>
                </c:pt>
                <c:pt idx="39">
                  <c:v>68645</c:v>
                </c:pt>
                <c:pt idx="40">
                  <c:v>60594</c:v>
                </c:pt>
                <c:pt idx="41">
                  <c:v>65182</c:v>
                </c:pt>
                <c:pt idx="42">
                  <c:v>62631</c:v>
                </c:pt>
                <c:pt idx="43">
                  <c:v>61641</c:v>
                </c:pt>
                <c:pt idx="44">
                  <c:v>70092</c:v>
                </c:pt>
                <c:pt idx="45">
                  <c:v>65121</c:v>
                </c:pt>
                <c:pt idx="46">
                  <c:v>62359</c:v>
                </c:pt>
                <c:pt idx="47">
                  <c:v>66067</c:v>
                </c:pt>
                <c:pt idx="48">
                  <c:v>68095</c:v>
                </c:pt>
                <c:pt idx="49">
                  <c:v>50389</c:v>
                </c:pt>
                <c:pt idx="50">
                  <c:v>50106</c:v>
                </c:pt>
                <c:pt idx="51">
                  <c:v>33236</c:v>
                </c:pt>
                <c:pt idx="52">
                  <c:v>33313</c:v>
                </c:pt>
                <c:pt idx="53">
                  <c:v>37637</c:v>
                </c:pt>
                <c:pt idx="54">
                  <c:v>64349</c:v>
                </c:pt>
                <c:pt idx="55">
                  <c:v>75192</c:v>
                </c:pt>
                <c:pt idx="56">
                  <c:v>79829</c:v>
                </c:pt>
                <c:pt idx="57">
                  <c:v>88015</c:v>
                </c:pt>
                <c:pt idx="58">
                  <c:v>76894</c:v>
                </c:pt>
                <c:pt idx="59">
                  <c:v>80264</c:v>
                </c:pt>
                <c:pt idx="60">
                  <c:v>80616</c:v>
                </c:pt>
                <c:pt idx="61">
                  <c:v>76897</c:v>
                </c:pt>
                <c:pt idx="62">
                  <c:v>69657</c:v>
                </c:pt>
                <c:pt idx="63">
                  <c:v>70641</c:v>
                </c:pt>
                <c:pt idx="64">
                  <c:v>74048</c:v>
                </c:pt>
                <c:pt idx="65">
                  <c:v>75240</c:v>
                </c:pt>
                <c:pt idx="66">
                  <c:v>66796</c:v>
                </c:pt>
                <c:pt idx="67">
                  <c:v>69361</c:v>
                </c:pt>
                <c:pt idx="68">
                  <c:v>67389</c:v>
                </c:pt>
                <c:pt idx="69">
                  <c:v>71669</c:v>
                </c:pt>
                <c:pt idx="70">
                  <c:v>68916</c:v>
                </c:pt>
                <c:pt idx="71">
                  <c:v>67038</c:v>
                </c:pt>
                <c:pt idx="72">
                  <c:v>81617</c:v>
                </c:pt>
                <c:pt idx="73">
                  <c:v>88217</c:v>
                </c:pt>
                <c:pt idx="74">
                  <c:v>95212</c:v>
                </c:pt>
                <c:pt idx="75">
                  <c:v>91741</c:v>
                </c:pt>
                <c:pt idx="76">
                  <c:v>94488</c:v>
                </c:pt>
                <c:pt idx="77">
                  <c:v>93512</c:v>
                </c:pt>
                <c:pt idx="78">
                  <c:v>98903</c:v>
                </c:pt>
                <c:pt idx="79">
                  <c:v>84562</c:v>
                </c:pt>
                <c:pt idx="80">
                  <c:v>80600</c:v>
                </c:pt>
                <c:pt idx="81">
                  <c:v>75258</c:v>
                </c:pt>
                <c:pt idx="82">
                  <c:v>75132</c:v>
                </c:pt>
                <c:pt idx="83">
                  <c:v>85783</c:v>
                </c:pt>
                <c:pt idx="84">
                  <c:v>86220</c:v>
                </c:pt>
                <c:pt idx="85">
                  <c:v>86762</c:v>
                </c:pt>
                <c:pt idx="86">
                  <c:v>83347</c:v>
                </c:pt>
                <c:pt idx="87">
                  <c:v>84818</c:v>
                </c:pt>
                <c:pt idx="88">
                  <c:v>79099</c:v>
                </c:pt>
                <c:pt idx="89">
                  <c:v>81043</c:v>
                </c:pt>
                <c:pt idx="90">
                  <c:v>71686</c:v>
                </c:pt>
                <c:pt idx="91">
                  <c:v>76042</c:v>
                </c:pt>
                <c:pt idx="92">
                  <c:v>66002</c:v>
                </c:pt>
                <c:pt idx="93">
                  <c:v>63165</c:v>
                </c:pt>
                <c:pt idx="94">
                  <c:v>67202</c:v>
                </c:pt>
                <c:pt idx="95">
                  <c:v>73555</c:v>
                </c:pt>
                <c:pt idx="96">
                  <c:v>76100</c:v>
                </c:pt>
                <c:pt idx="97">
                  <c:v>71069</c:v>
                </c:pt>
                <c:pt idx="98">
                  <c:v>69944</c:v>
                </c:pt>
                <c:pt idx="99">
                  <c:v>68462</c:v>
                </c:pt>
                <c:pt idx="100">
                  <c:v>75628</c:v>
                </c:pt>
                <c:pt idx="101">
                  <c:v>72803</c:v>
                </c:pt>
                <c:pt idx="102">
                  <c:v>80848</c:v>
                </c:pt>
                <c:pt idx="103">
                  <c:v>88449</c:v>
                </c:pt>
                <c:pt idx="104">
                  <c:v>67012</c:v>
                </c:pt>
                <c:pt idx="105">
                  <c:v>63067</c:v>
                </c:pt>
                <c:pt idx="106">
                  <c:v>68585</c:v>
                </c:pt>
                <c:pt idx="107">
                  <c:v>6211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108180</c:v>
                </c:pt>
                <c:pt idx="1">
                  <c:v>87317</c:v>
                </c:pt>
                <c:pt idx="2">
                  <c:v>85571</c:v>
                </c:pt>
                <c:pt idx="3">
                  <c:v>74245</c:v>
                </c:pt>
                <c:pt idx="4">
                  <c:v>70825</c:v>
                </c:pt>
                <c:pt idx="5">
                  <c:v>74529</c:v>
                </c:pt>
                <c:pt idx="6">
                  <c:v>72856</c:v>
                </c:pt>
                <c:pt idx="7">
                  <c:v>89992</c:v>
                </c:pt>
                <c:pt idx="8">
                  <c:v>81304</c:v>
                </c:pt>
                <c:pt idx="9">
                  <c:v>74776</c:v>
                </c:pt>
                <c:pt idx="10">
                  <c:v>91896</c:v>
                </c:pt>
                <c:pt idx="11">
                  <c:v>82479</c:v>
                </c:pt>
                <c:pt idx="12">
                  <c:v>76121</c:v>
                </c:pt>
                <c:pt idx="13">
                  <c:v>83366</c:v>
                </c:pt>
                <c:pt idx="14">
                  <c:v>74035</c:v>
                </c:pt>
                <c:pt idx="15">
                  <c:v>95664</c:v>
                </c:pt>
                <c:pt idx="16">
                  <c:v>78824</c:v>
                </c:pt>
                <c:pt idx="17">
                  <c:v>78761</c:v>
                </c:pt>
                <c:pt idx="18">
                  <c:v>74237</c:v>
                </c:pt>
                <c:pt idx="19">
                  <c:v>73301</c:v>
                </c:pt>
                <c:pt idx="20">
                  <c:v>84256</c:v>
                </c:pt>
                <c:pt idx="21">
                  <c:v>78071</c:v>
                </c:pt>
                <c:pt idx="22">
                  <c:v>75866</c:v>
                </c:pt>
                <c:pt idx="23">
                  <c:v>75006</c:v>
                </c:pt>
                <c:pt idx="24">
                  <c:v>76111</c:v>
                </c:pt>
                <c:pt idx="25">
                  <c:v>75098</c:v>
                </c:pt>
                <c:pt idx="26">
                  <c:v>78663</c:v>
                </c:pt>
                <c:pt idx="27">
                  <c:v>77104</c:v>
                </c:pt>
                <c:pt idx="28">
                  <c:v>90202</c:v>
                </c:pt>
                <c:pt idx="29">
                  <c:v>83910</c:v>
                </c:pt>
                <c:pt idx="30">
                  <c:v>84197</c:v>
                </c:pt>
                <c:pt idx="31">
                  <c:v>77499</c:v>
                </c:pt>
                <c:pt idx="32">
                  <c:v>80633</c:v>
                </c:pt>
                <c:pt idx="33">
                  <c:v>81729</c:v>
                </c:pt>
                <c:pt idx="34">
                  <c:v>91725</c:v>
                </c:pt>
                <c:pt idx="35">
                  <c:v>91773</c:v>
                </c:pt>
                <c:pt idx="36">
                  <c:v>80053</c:v>
                </c:pt>
                <c:pt idx="37">
                  <c:v>75699</c:v>
                </c:pt>
                <c:pt idx="38">
                  <c:v>72354</c:v>
                </c:pt>
                <c:pt idx="39">
                  <c:v>75380</c:v>
                </c:pt>
                <c:pt idx="40">
                  <c:v>96240</c:v>
                </c:pt>
                <c:pt idx="41">
                  <c:v>103114</c:v>
                </c:pt>
                <c:pt idx="42">
                  <c:v>103822</c:v>
                </c:pt>
                <c:pt idx="43">
                  <c:v>109558</c:v>
                </c:pt>
                <c:pt idx="44">
                  <c:v>117223</c:v>
                </c:pt>
                <c:pt idx="45">
                  <c:v>120810</c:v>
                </c:pt>
                <c:pt idx="46">
                  <c:v>151443</c:v>
                </c:pt>
                <c:pt idx="47">
                  <c:v>154482</c:v>
                </c:pt>
                <c:pt idx="48">
                  <c:v>182046</c:v>
                </c:pt>
                <c:pt idx="49">
                  <c:v>220722</c:v>
                </c:pt>
                <c:pt idx="50">
                  <c:v>345507</c:v>
                </c:pt>
                <c:pt idx="51">
                  <c:v>325074</c:v>
                </c:pt>
                <c:pt idx="52">
                  <c:v>41011</c:v>
                </c:pt>
                <c:pt idx="53">
                  <c:v>48881</c:v>
                </c:pt>
                <c:pt idx="54">
                  <c:v>68860</c:v>
                </c:pt>
                <c:pt idx="55">
                  <c:v>77526</c:v>
                </c:pt>
                <c:pt idx="56">
                  <c:v>81285</c:v>
                </c:pt>
                <c:pt idx="57">
                  <c:v>89269</c:v>
                </c:pt>
                <c:pt idx="58">
                  <c:v>88144</c:v>
                </c:pt>
                <c:pt idx="59">
                  <c:v>111798</c:v>
                </c:pt>
                <c:pt idx="60">
                  <c:v>100625</c:v>
                </c:pt>
                <c:pt idx="61">
                  <c:v>94633</c:v>
                </c:pt>
                <c:pt idx="62">
                  <c:v>90078</c:v>
                </c:pt>
                <c:pt idx="63">
                  <c:v>104685</c:v>
                </c:pt>
                <c:pt idx="64">
                  <c:v>93514</c:v>
                </c:pt>
                <c:pt idx="65">
                  <c:v>91539</c:v>
                </c:pt>
                <c:pt idx="66">
                  <c:v>86133</c:v>
                </c:pt>
                <c:pt idx="67">
                  <c:v>104902</c:v>
                </c:pt>
                <c:pt idx="68">
                  <c:v>85913</c:v>
                </c:pt>
                <c:pt idx="69">
                  <c:v>89045</c:v>
                </c:pt>
                <c:pt idx="70">
                  <c:v>84843</c:v>
                </c:pt>
                <c:pt idx="71">
                  <c:v>85505</c:v>
                </c:pt>
                <c:pt idx="72">
                  <c:v>101291</c:v>
                </c:pt>
                <c:pt idx="73">
                  <c:v>88315</c:v>
                </c:pt>
                <c:pt idx="74">
                  <c:v>95981</c:v>
                </c:pt>
                <c:pt idx="75">
                  <c:v>91919</c:v>
                </c:pt>
                <c:pt idx="76">
                  <c:v>94798</c:v>
                </c:pt>
                <c:pt idx="77">
                  <c:v>93639</c:v>
                </c:pt>
                <c:pt idx="78">
                  <c:v>99918</c:v>
                </c:pt>
                <c:pt idx="79">
                  <c:v>93230</c:v>
                </c:pt>
                <c:pt idx="80">
                  <c:v>97192</c:v>
                </c:pt>
                <c:pt idx="81">
                  <c:v>93231</c:v>
                </c:pt>
                <c:pt idx="82">
                  <c:v>92537</c:v>
                </c:pt>
                <c:pt idx="83">
                  <c:v>89882</c:v>
                </c:pt>
                <c:pt idx="84">
                  <c:v>89472</c:v>
                </c:pt>
                <c:pt idx="85">
                  <c:v>87474</c:v>
                </c:pt>
                <c:pt idx="86">
                  <c:v>85564</c:v>
                </c:pt>
                <c:pt idx="87">
                  <c:v>85522</c:v>
                </c:pt>
                <c:pt idx="88">
                  <c:v>79841</c:v>
                </c:pt>
                <c:pt idx="89">
                  <c:v>81791</c:v>
                </c:pt>
                <c:pt idx="90">
                  <c:v>75178</c:v>
                </c:pt>
                <c:pt idx="91">
                  <c:v>84428</c:v>
                </c:pt>
                <c:pt idx="92">
                  <c:v>85903</c:v>
                </c:pt>
                <c:pt idx="93">
                  <c:v>101387</c:v>
                </c:pt>
                <c:pt idx="94">
                  <c:v>104737</c:v>
                </c:pt>
                <c:pt idx="95">
                  <c:v>108516</c:v>
                </c:pt>
                <c:pt idx="96">
                  <c:v>120405</c:v>
                </c:pt>
                <c:pt idx="97">
                  <c:v>124600</c:v>
                </c:pt>
                <c:pt idx="98">
                  <c:v>136437</c:v>
                </c:pt>
                <c:pt idx="99">
                  <c:v>175657</c:v>
                </c:pt>
                <c:pt idx="100">
                  <c:v>193429</c:v>
                </c:pt>
                <c:pt idx="101">
                  <c:v>235585</c:v>
                </c:pt>
                <c:pt idx="102">
                  <c:v>335940</c:v>
                </c:pt>
                <c:pt idx="103">
                  <c:v>546023</c:v>
                </c:pt>
                <c:pt idx="104">
                  <c:v>75766</c:v>
                </c:pt>
                <c:pt idx="105">
                  <c:v>65103</c:v>
                </c:pt>
                <c:pt idx="106">
                  <c:v>69669</c:v>
                </c:pt>
                <c:pt idx="107">
                  <c:v>6283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69579</c:v>
                </c:pt>
                <c:pt idx="1">
                  <c:v>69023</c:v>
                </c:pt>
                <c:pt idx="2">
                  <c:v>69309</c:v>
                </c:pt>
                <c:pt idx="3">
                  <c:v>69794</c:v>
                </c:pt>
                <c:pt idx="4">
                  <c:v>71430</c:v>
                </c:pt>
                <c:pt idx="5">
                  <c:v>72969</c:v>
                </c:pt>
                <c:pt idx="6">
                  <c:v>73790</c:v>
                </c:pt>
                <c:pt idx="7">
                  <c:v>76097</c:v>
                </c:pt>
                <c:pt idx="8">
                  <c:v>77978</c:v>
                </c:pt>
                <c:pt idx="9">
                  <c:v>79347</c:v>
                </c:pt>
                <c:pt idx="10">
                  <c:v>78548</c:v>
                </c:pt>
                <c:pt idx="11">
                  <c:v>78797</c:v>
                </c:pt>
                <c:pt idx="12">
                  <c:v>79623</c:v>
                </c:pt>
                <c:pt idx="13">
                  <c:v>79399</c:v>
                </c:pt>
                <c:pt idx="14">
                  <c:v>81429</c:v>
                </c:pt>
                <c:pt idx="15">
                  <c:v>79716</c:v>
                </c:pt>
                <c:pt idx="16">
                  <c:v>78387</c:v>
                </c:pt>
                <c:pt idx="17">
                  <c:v>79021</c:v>
                </c:pt>
                <c:pt idx="18">
                  <c:v>78949</c:v>
                </c:pt>
                <c:pt idx="19">
                  <c:v>79048</c:v>
                </c:pt>
                <c:pt idx="20">
                  <c:v>76890</c:v>
                </c:pt>
                <c:pt idx="21">
                  <c:v>76555</c:v>
                </c:pt>
                <c:pt idx="22">
                  <c:v>76185</c:v>
                </c:pt>
                <c:pt idx="23">
                  <c:v>76724</c:v>
                </c:pt>
                <c:pt idx="24">
                  <c:v>77163</c:v>
                </c:pt>
                <c:pt idx="25">
                  <c:v>78000</c:v>
                </c:pt>
                <c:pt idx="26">
                  <c:v>78591</c:v>
                </c:pt>
                <c:pt idx="27">
                  <c:v>78996</c:v>
                </c:pt>
                <c:pt idx="28">
                  <c:v>79891</c:v>
                </c:pt>
                <c:pt idx="29">
                  <c:v>80456</c:v>
                </c:pt>
                <c:pt idx="30">
                  <c:v>81074</c:v>
                </c:pt>
                <c:pt idx="31">
                  <c:v>82986</c:v>
                </c:pt>
                <c:pt idx="32">
                  <c:v>84389</c:v>
                </c:pt>
                <c:pt idx="33">
                  <c:v>83257</c:v>
                </c:pt>
                <c:pt idx="34">
                  <c:v>82768</c:v>
                </c:pt>
                <c:pt idx="35">
                  <c:v>81418</c:v>
                </c:pt>
                <c:pt idx="36">
                  <c:v>81166</c:v>
                </c:pt>
                <c:pt idx="37">
                  <c:v>80861</c:v>
                </c:pt>
                <c:pt idx="38">
                  <c:v>79654</c:v>
                </c:pt>
                <c:pt idx="39">
                  <c:v>76844</c:v>
                </c:pt>
                <c:pt idx="40">
                  <c:v>92395</c:v>
                </c:pt>
                <c:pt idx="41">
                  <c:v>104135</c:v>
                </c:pt>
                <c:pt idx="42">
                  <c:v>104658</c:v>
                </c:pt>
                <c:pt idx="43">
                  <c:v>108233</c:v>
                </c:pt>
                <c:pt idx="44">
                  <c:v>108812</c:v>
                </c:pt>
                <c:pt idx="45">
                  <c:v>107687</c:v>
                </c:pt>
                <c:pt idx="46">
                  <c:v>107433</c:v>
                </c:pt>
                <c:pt idx="47">
                  <c:v>109046</c:v>
                </c:pt>
                <c:pt idx="48">
                  <c:v>105525</c:v>
                </c:pt>
                <c:pt idx="49">
                  <c:v>100974</c:v>
                </c:pt>
                <c:pt idx="50">
                  <c:v>97757</c:v>
                </c:pt>
                <c:pt idx="51">
                  <c:v>113886</c:v>
                </c:pt>
                <c:pt idx="52">
                  <c:v>86300</c:v>
                </c:pt>
                <c:pt idx="53">
                  <c:v>72326</c:v>
                </c:pt>
                <c:pt idx="54">
                  <c:v>63811</c:v>
                </c:pt>
                <c:pt idx="55">
                  <c:v>63225</c:v>
                </c:pt>
                <c:pt idx="56">
                  <c:v>72650</c:v>
                </c:pt>
                <c:pt idx="57">
                  <c:v>82221</c:v>
                </c:pt>
                <c:pt idx="58">
                  <c:v>87947</c:v>
                </c:pt>
                <c:pt idx="59">
                  <c:v>91002</c:v>
                </c:pt>
                <c:pt idx="60">
                  <c:v>93691</c:v>
                </c:pt>
                <c:pt idx="61">
                  <c:v>95598</c:v>
                </c:pt>
                <c:pt idx="62">
                  <c:v>95610</c:v>
                </c:pt>
                <c:pt idx="63">
                  <c:v>95498</c:v>
                </c:pt>
                <c:pt idx="64">
                  <c:v>94499</c:v>
                </c:pt>
                <c:pt idx="65">
                  <c:v>92981</c:v>
                </c:pt>
                <c:pt idx="66">
                  <c:v>92362</c:v>
                </c:pt>
                <c:pt idx="67">
                  <c:v>91992</c:v>
                </c:pt>
                <c:pt idx="68">
                  <c:v>89742</c:v>
                </c:pt>
                <c:pt idx="69">
                  <c:v>90219</c:v>
                </c:pt>
                <c:pt idx="70">
                  <c:v>90176</c:v>
                </c:pt>
                <c:pt idx="71">
                  <c:v>91107</c:v>
                </c:pt>
                <c:pt idx="72">
                  <c:v>90845</c:v>
                </c:pt>
                <c:pt idx="73">
                  <c:v>91429</c:v>
                </c:pt>
                <c:pt idx="74">
                  <c:v>91962</c:v>
                </c:pt>
                <c:pt idx="75">
                  <c:v>93870</c:v>
                </c:pt>
                <c:pt idx="76">
                  <c:v>94732</c:v>
                </c:pt>
                <c:pt idx="77">
                  <c:v>94262</c:v>
                </c:pt>
                <c:pt idx="78">
                  <c:v>94856</c:v>
                </c:pt>
                <c:pt idx="79">
                  <c:v>94507</c:v>
                </c:pt>
                <c:pt idx="80">
                  <c:v>94168</c:v>
                </c:pt>
                <c:pt idx="81">
                  <c:v>93041</c:v>
                </c:pt>
                <c:pt idx="82">
                  <c:v>92685</c:v>
                </c:pt>
                <c:pt idx="83">
                  <c:v>90902</c:v>
                </c:pt>
                <c:pt idx="84">
                  <c:v>90034</c:v>
                </c:pt>
                <c:pt idx="85">
                  <c:v>87988</c:v>
                </c:pt>
                <c:pt idx="86">
                  <c:v>86513</c:v>
                </c:pt>
                <c:pt idx="87">
                  <c:v>84403</c:v>
                </c:pt>
                <c:pt idx="88">
                  <c:v>83778</c:v>
                </c:pt>
                <c:pt idx="89">
                  <c:v>82491</c:v>
                </c:pt>
                <c:pt idx="90">
                  <c:v>81381</c:v>
                </c:pt>
                <c:pt idx="91">
                  <c:v>80286</c:v>
                </c:pt>
                <c:pt idx="92">
                  <c:v>84187</c:v>
                </c:pt>
                <c:pt idx="93">
                  <c:v>100303</c:v>
                </c:pt>
                <c:pt idx="94">
                  <c:v>105717</c:v>
                </c:pt>
                <c:pt idx="95">
                  <c:v>111155</c:v>
                </c:pt>
                <c:pt idx="96">
                  <c:v>118564</c:v>
                </c:pt>
                <c:pt idx="97">
                  <c:v>126586</c:v>
                </c:pt>
                <c:pt idx="98">
                  <c:v>136682</c:v>
                </c:pt>
                <c:pt idx="99">
                  <c:v>137767</c:v>
                </c:pt>
                <c:pt idx="100">
                  <c:v>139086</c:v>
                </c:pt>
                <c:pt idx="101">
                  <c:v>138252</c:v>
                </c:pt>
                <c:pt idx="102">
                  <c:v>137595</c:v>
                </c:pt>
                <c:pt idx="103">
                  <c:v>137567</c:v>
                </c:pt>
                <c:pt idx="104">
                  <c:v>91348</c:v>
                </c:pt>
                <c:pt idx="105">
                  <c:v>73734</c:v>
                </c:pt>
                <c:pt idx="106">
                  <c:v>71394</c:v>
                </c:pt>
                <c:pt idx="107">
                  <c:v>6859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64</c:v>
                </c:pt>
                <c:pt idx="1">
                  <c:v>0.44</c:v>
                </c:pt>
                <c:pt idx="2">
                  <c:v>0.43</c:v>
                </c:pt>
                <c:pt idx="3">
                  <c:v>0.35</c:v>
                </c:pt>
                <c:pt idx="4">
                  <c:v>0.26</c:v>
                </c:pt>
                <c:pt idx="5">
                  <c:v>0.21</c:v>
                </c:pt>
                <c:pt idx="6">
                  <c:v>0.22</c:v>
                </c:pt>
                <c:pt idx="7">
                  <c:v>0.38</c:v>
                </c:pt>
                <c:pt idx="8">
                  <c:v>0.17</c:v>
                </c:pt>
                <c:pt idx="9">
                  <c:v>0.19</c:v>
                </c:pt>
                <c:pt idx="10">
                  <c:v>0.33</c:v>
                </c:pt>
                <c:pt idx="11">
                  <c:v>0.22</c:v>
                </c:pt>
                <c:pt idx="12">
                  <c:v>0.14000000000000001</c:v>
                </c:pt>
                <c:pt idx="13">
                  <c:v>0.12</c:v>
                </c:pt>
                <c:pt idx="14">
                  <c:v>0.2</c:v>
                </c:pt>
                <c:pt idx="15">
                  <c:v>0.38</c:v>
                </c:pt>
                <c:pt idx="16">
                  <c:v>0.19</c:v>
                </c:pt>
                <c:pt idx="17">
                  <c:v>0.04</c:v>
                </c:pt>
                <c:pt idx="18">
                  <c:v>0.06</c:v>
                </c:pt>
                <c:pt idx="19">
                  <c:v>0.05</c:v>
                </c:pt>
                <c:pt idx="20">
                  <c:v>0.1</c:v>
                </c:pt>
                <c:pt idx="21">
                  <c:v>0.01</c:v>
                </c:pt>
                <c:pt idx="22">
                  <c:v>0</c:v>
                </c:pt>
                <c:pt idx="23">
                  <c:v>0.01</c:v>
                </c:pt>
                <c:pt idx="24">
                  <c:v>0</c:v>
                </c:pt>
                <c:pt idx="25">
                  <c:v>0.01</c:v>
                </c:pt>
                <c:pt idx="26">
                  <c:v>0.01</c:v>
                </c:pt>
                <c:pt idx="27">
                  <c:v>0.09</c:v>
                </c:pt>
                <c:pt idx="28">
                  <c:v>0.27</c:v>
                </c:pt>
                <c:pt idx="29">
                  <c:v>0.15</c:v>
                </c:pt>
                <c:pt idx="30">
                  <c:v>0.12</c:v>
                </c:pt>
                <c:pt idx="31">
                  <c:v>0.12</c:v>
                </c:pt>
                <c:pt idx="32">
                  <c:v>0.11</c:v>
                </c:pt>
                <c:pt idx="33">
                  <c:v>0.1</c:v>
                </c:pt>
                <c:pt idx="34">
                  <c:v>0.08</c:v>
                </c:pt>
                <c:pt idx="35">
                  <c:v>0.02</c:v>
                </c:pt>
                <c:pt idx="36">
                  <c:v>0.01</c:v>
                </c:pt>
                <c:pt idx="37">
                  <c:v>0.01</c:v>
                </c:pt>
                <c:pt idx="38">
                  <c:v>0.05</c:v>
                </c:pt>
                <c:pt idx="39">
                  <c:v>0.1</c:v>
                </c:pt>
                <c:pt idx="40">
                  <c:v>0.43</c:v>
                </c:pt>
                <c:pt idx="41">
                  <c:v>0.45</c:v>
                </c:pt>
                <c:pt idx="42">
                  <c:v>0.48</c:v>
                </c:pt>
                <c:pt idx="43">
                  <c:v>0.52</c:v>
                </c:pt>
                <c:pt idx="44">
                  <c:v>0.49</c:v>
                </c:pt>
                <c:pt idx="45">
                  <c:v>0.55000000000000004</c:v>
                </c:pt>
                <c:pt idx="46">
                  <c:v>0.67</c:v>
                </c:pt>
                <c:pt idx="47">
                  <c:v>0.66</c:v>
                </c:pt>
                <c:pt idx="48">
                  <c:v>0.7</c:v>
                </c:pt>
                <c:pt idx="49">
                  <c:v>0.83</c:v>
                </c:pt>
                <c:pt idx="50">
                  <c:v>0.89</c:v>
                </c:pt>
                <c:pt idx="51">
                  <c:v>0.95</c:v>
                </c:pt>
                <c:pt idx="52">
                  <c:v>0.37</c:v>
                </c:pt>
                <c:pt idx="53">
                  <c:v>0.32</c:v>
                </c:pt>
                <c:pt idx="54">
                  <c:v>0.12</c:v>
                </c:pt>
                <c:pt idx="55">
                  <c:v>0.06</c:v>
                </c:pt>
                <c:pt idx="56">
                  <c:v>0.03</c:v>
                </c:pt>
                <c:pt idx="57">
                  <c:v>0.03</c:v>
                </c:pt>
                <c:pt idx="58">
                  <c:v>0.15</c:v>
                </c:pt>
                <c:pt idx="59">
                  <c:v>0.34</c:v>
                </c:pt>
                <c:pt idx="60">
                  <c:v>0.23</c:v>
                </c:pt>
                <c:pt idx="61">
                  <c:v>0.21</c:v>
                </c:pt>
                <c:pt idx="62">
                  <c:v>0.24</c:v>
                </c:pt>
                <c:pt idx="63">
                  <c:v>0.38</c:v>
                </c:pt>
                <c:pt idx="64">
                  <c:v>0.22</c:v>
                </c:pt>
                <c:pt idx="65">
                  <c:v>0.22</c:v>
                </c:pt>
                <c:pt idx="66">
                  <c:v>0.25</c:v>
                </c:pt>
                <c:pt idx="67">
                  <c:v>0.37</c:v>
                </c:pt>
                <c:pt idx="68">
                  <c:v>0.24</c:v>
                </c:pt>
                <c:pt idx="69">
                  <c:v>0.21</c:v>
                </c:pt>
                <c:pt idx="70">
                  <c:v>0.21</c:v>
                </c:pt>
                <c:pt idx="71">
                  <c:v>0.24</c:v>
                </c:pt>
                <c:pt idx="72">
                  <c:v>0.22</c:v>
                </c:pt>
                <c:pt idx="73">
                  <c:v>0</c:v>
                </c:pt>
                <c:pt idx="74">
                  <c:v>0.01</c:v>
                </c:pt>
                <c:pt idx="75">
                  <c:v>0</c:v>
                </c:pt>
                <c:pt idx="76">
                  <c:v>0</c:v>
                </c:pt>
                <c:pt idx="77">
                  <c:v>0</c:v>
                </c:pt>
                <c:pt idx="78">
                  <c:v>0.01</c:v>
                </c:pt>
                <c:pt idx="79">
                  <c:v>0.1</c:v>
                </c:pt>
                <c:pt idx="80">
                  <c:v>0.21</c:v>
                </c:pt>
                <c:pt idx="81">
                  <c:v>0.21</c:v>
                </c:pt>
                <c:pt idx="82">
                  <c:v>0.21</c:v>
                </c:pt>
                <c:pt idx="83">
                  <c:v>0.05</c:v>
                </c:pt>
                <c:pt idx="84">
                  <c:v>0.04</c:v>
                </c:pt>
                <c:pt idx="85">
                  <c:v>0.01</c:v>
                </c:pt>
                <c:pt idx="86">
                  <c:v>0.03</c:v>
                </c:pt>
                <c:pt idx="87">
                  <c:v>0.01</c:v>
                </c:pt>
                <c:pt idx="88">
                  <c:v>0.01</c:v>
                </c:pt>
                <c:pt idx="89">
                  <c:v>0.01</c:v>
                </c:pt>
                <c:pt idx="90">
                  <c:v>0.05</c:v>
                </c:pt>
                <c:pt idx="91">
                  <c:v>0.11</c:v>
                </c:pt>
                <c:pt idx="92">
                  <c:v>0.25</c:v>
                </c:pt>
                <c:pt idx="93">
                  <c:v>0.4</c:v>
                </c:pt>
                <c:pt idx="94">
                  <c:v>0.37</c:v>
                </c:pt>
                <c:pt idx="95">
                  <c:v>0.32</c:v>
                </c:pt>
                <c:pt idx="96">
                  <c:v>0.36</c:v>
                </c:pt>
                <c:pt idx="97">
                  <c:v>0.43</c:v>
                </c:pt>
                <c:pt idx="98">
                  <c:v>0.48</c:v>
                </c:pt>
                <c:pt idx="99">
                  <c:v>0.61</c:v>
                </c:pt>
                <c:pt idx="100">
                  <c:v>0.61</c:v>
                </c:pt>
                <c:pt idx="101">
                  <c:v>0.69</c:v>
                </c:pt>
                <c:pt idx="102">
                  <c:v>0.76</c:v>
                </c:pt>
                <c:pt idx="103">
                  <c:v>0.89</c:v>
                </c:pt>
                <c:pt idx="104">
                  <c:v>0.24</c:v>
                </c:pt>
                <c:pt idx="105">
                  <c:v>7.0000000000000007E-2</c:v>
                </c:pt>
                <c:pt idx="106">
                  <c:v>0.04</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523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28597</c:v>
                </c:pt>
                <c:pt idx="1">
                  <c:v>12860</c:v>
                </c:pt>
                <c:pt idx="2">
                  <c:v>8507</c:v>
                </c:pt>
                <c:pt idx="3">
                  <c:v>4896</c:v>
                </c:pt>
                <c:pt idx="4">
                  <c:v>2850</c:v>
                </c:pt>
                <c:pt idx="5">
                  <c:v>18740</c:v>
                </c:pt>
                <c:pt idx="6">
                  <c:v>25415</c:v>
                </c:pt>
                <c:pt idx="7">
                  <c:v>29182</c:v>
                </c:pt>
                <c:pt idx="8">
                  <c:v>22078</c:v>
                </c:pt>
                <c:pt idx="9">
                  <c:v>22795</c:v>
                </c:pt>
                <c:pt idx="10">
                  <c:v>24998</c:v>
                </c:pt>
                <c:pt idx="11">
                  <c:v>23510</c:v>
                </c:pt>
                <c:pt idx="12">
                  <c:v>20562</c:v>
                </c:pt>
                <c:pt idx="13">
                  <c:v>21732</c:v>
                </c:pt>
                <c:pt idx="14">
                  <c:v>21427</c:v>
                </c:pt>
                <c:pt idx="15">
                  <c:v>27481</c:v>
                </c:pt>
                <c:pt idx="16">
                  <c:v>16488</c:v>
                </c:pt>
                <c:pt idx="17">
                  <c:v>4916</c:v>
                </c:pt>
                <c:pt idx="18">
                  <c:v>313</c:v>
                </c:pt>
                <c:pt idx="19">
                  <c:v>122</c:v>
                </c:pt>
                <c:pt idx="20">
                  <c:v>381</c:v>
                </c:pt>
                <c:pt idx="21">
                  <c:v>432</c:v>
                </c:pt>
                <c:pt idx="22">
                  <c:v>136</c:v>
                </c:pt>
                <c:pt idx="23">
                  <c:v>331</c:v>
                </c:pt>
                <c:pt idx="24">
                  <c:v>676</c:v>
                </c:pt>
                <c:pt idx="25">
                  <c:v>314</c:v>
                </c:pt>
                <c:pt idx="26">
                  <c:v>74</c:v>
                </c:pt>
                <c:pt idx="27">
                  <c:v>16990</c:v>
                </c:pt>
                <c:pt idx="28">
                  <c:v>35191</c:v>
                </c:pt>
                <c:pt idx="29">
                  <c:v>22234</c:v>
                </c:pt>
                <c:pt idx="30">
                  <c:v>26316</c:v>
                </c:pt>
                <c:pt idx="31">
                  <c:v>29699</c:v>
                </c:pt>
                <c:pt idx="32">
                  <c:v>25323</c:v>
                </c:pt>
                <c:pt idx="33">
                  <c:v>31853</c:v>
                </c:pt>
                <c:pt idx="34">
                  <c:v>38282</c:v>
                </c:pt>
                <c:pt idx="35">
                  <c:v>14253</c:v>
                </c:pt>
                <c:pt idx="36">
                  <c:v>962</c:v>
                </c:pt>
                <c:pt idx="37">
                  <c:v>266</c:v>
                </c:pt>
                <c:pt idx="38">
                  <c:v>10432</c:v>
                </c:pt>
                <c:pt idx="39">
                  <c:v>20047</c:v>
                </c:pt>
                <c:pt idx="40">
                  <c:v>28941</c:v>
                </c:pt>
                <c:pt idx="41">
                  <c:v>37909</c:v>
                </c:pt>
                <c:pt idx="42">
                  <c:v>30231</c:v>
                </c:pt>
                <c:pt idx="43">
                  <c:v>25331</c:v>
                </c:pt>
                <c:pt idx="44">
                  <c:v>1958</c:v>
                </c:pt>
                <c:pt idx="45">
                  <c:v>127</c:v>
                </c:pt>
                <c:pt idx="46">
                  <c:v>752</c:v>
                </c:pt>
                <c:pt idx="47">
                  <c:v>598</c:v>
                </c:pt>
                <c:pt idx="48">
                  <c:v>902</c:v>
                </c:pt>
                <c:pt idx="49">
                  <c:v>15550</c:v>
                </c:pt>
                <c:pt idx="50">
                  <c:v>16347</c:v>
                </c:pt>
                <c:pt idx="51">
                  <c:v>8766</c:v>
                </c:pt>
                <c:pt idx="52">
                  <c:v>6839</c:v>
                </c:pt>
                <c:pt idx="53">
                  <c:v>21150</c:v>
                </c:pt>
                <c:pt idx="54">
                  <c:v>12515</c:v>
                </c:pt>
                <c:pt idx="55">
                  <c:v>6282</c:v>
                </c:pt>
                <c:pt idx="56">
                  <c:v>37420</c:v>
                </c:pt>
                <c:pt idx="57">
                  <c:v>70149</c:v>
                </c:pt>
                <c:pt idx="58">
                  <c:v>74639</c:v>
                </c:pt>
                <c:pt idx="59">
                  <c:v>109179</c:v>
                </c:pt>
                <c:pt idx="60">
                  <c:v>103880</c:v>
                </c:pt>
                <c:pt idx="61">
                  <c:v>96851</c:v>
                </c:pt>
                <c:pt idx="62">
                  <c:v>73370</c:v>
                </c:pt>
                <c:pt idx="63">
                  <c:v>42596</c:v>
                </c:pt>
                <c:pt idx="64">
                  <c:v>41190</c:v>
                </c:pt>
                <c:pt idx="65">
                  <c:v>42541</c:v>
                </c:pt>
                <c:pt idx="66">
                  <c:v>39167</c:v>
                </c:pt>
                <c:pt idx="67">
                  <c:v>35945</c:v>
                </c:pt>
                <c:pt idx="68">
                  <c:v>32895</c:v>
                </c:pt>
                <c:pt idx="69">
                  <c:v>35262</c:v>
                </c:pt>
                <c:pt idx="70">
                  <c:v>34147</c:v>
                </c:pt>
                <c:pt idx="71">
                  <c:v>30459</c:v>
                </c:pt>
                <c:pt idx="72">
                  <c:v>15468</c:v>
                </c:pt>
                <c:pt idx="73">
                  <c:v>419</c:v>
                </c:pt>
                <c:pt idx="74">
                  <c:v>269</c:v>
                </c:pt>
                <c:pt idx="75">
                  <c:v>365</c:v>
                </c:pt>
                <c:pt idx="76">
                  <c:v>1356</c:v>
                </c:pt>
                <c:pt idx="77">
                  <c:v>312</c:v>
                </c:pt>
                <c:pt idx="78">
                  <c:v>443</c:v>
                </c:pt>
                <c:pt idx="79">
                  <c:v>18918</c:v>
                </c:pt>
                <c:pt idx="80">
                  <c:v>35479</c:v>
                </c:pt>
                <c:pt idx="81">
                  <c:v>35606</c:v>
                </c:pt>
                <c:pt idx="82">
                  <c:v>34517</c:v>
                </c:pt>
                <c:pt idx="83">
                  <c:v>10292</c:v>
                </c:pt>
                <c:pt idx="84">
                  <c:v>8547</c:v>
                </c:pt>
                <c:pt idx="85">
                  <c:v>172</c:v>
                </c:pt>
                <c:pt idx="86">
                  <c:v>5721</c:v>
                </c:pt>
                <c:pt idx="87">
                  <c:v>375</c:v>
                </c:pt>
                <c:pt idx="88">
                  <c:v>396</c:v>
                </c:pt>
                <c:pt idx="89">
                  <c:v>288</c:v>
                </c:pt>
                <c:pt idx="90">
                  <c:v>9982</c:v>
                </c:pt>
                <c:pt idx="91">
                  <c:v>21579</c:v>
                </c:pt>
                <c:pt idx="92">
                  <c:v>34603</c:v>
                </c:pt>
                <c:pt idx="93">
                  <c:v>44083</c:v>
                </c:pt>
                <c:pt idx="94">
                  <c:v>20833</c:v>
                </c:pt>
                <c:pt idx="95">
                  <c:v>260</c:v>
                </c:pt>
                <c:pt idx="96">
                  <c:v>391</c:v>
                </c:pt>
                <c:pt idx="97">
                  <c:v>50325</c:v>
                </c:pt>
                <c:pt idx="98">
                  <c:v>158964</c:v>
                </c:pt>
                <c:pt idx="99">
                  <c:v>153082</c:v>
                </c:pt>
                <c:pt idx="100">
                  <c:v>168880</c:v>
                </c:pt>
                <c:pt idx="101">
                  <c:v>171953</c:v>
                </c:pt>
                <c:pt idx="102">
                  <c:v>187092</c:v>
                </c:pt>
                <c:pt idx="103">
                  <c:v>158434</c:v>
                </c:pt>
                <c:pt idx="104">
                  <c:v>164477</c:v>
                </c:pt>
                <c:pt idx="105">
                  <c:v>150502</c:v>
                </c:pt>
                <c:pt idx="106">
                  <c:v>150072</c:v>
                </c:pt>
                <c:pt idx="107">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98031</c:v>
                </c:pt>
                <c:pt idx="1">
                  <c:v>205646</c:v>
                </c:pt>
                <c:pt idx="2">
                  <c:v>209691</c:v>
                </c:pt>
                <c:pt idx="3">
                  <c:v>206706</c:v>
                </c:pt>
                <c:pt idx="4">
                  <c:v>216150</c:v>
                </c:pt>
                <c:pt idx="5">
                  <c:v>205988</c:v>
                </c:pt>
                <c:pt idx="6">
                  <c:v>196407</c:v>
                </c:pt>
                <c:pt idx="7">
                  <c:v>209682</c:v>
                </c:pt>
                <c:pt idx="8">
                  <c:v>221892</c:v>
                </c:pt>
                <c:pt idx="9">
                  <c:v>205720</c:v>
                </c:pt>
                <c:pt idx="10">
                  <c:v>204827</c:v>
                </c:pt>
                <c:pt idx="11">
                  <c:v>204380</c:v>
                </c:pt>
                <c:pt idx="12">
                  <c:v>198445</c:v>
                </c:pt>
                <c:pt idx="13">
                  <c:v>217665</c:v>
                </c:pt>
                <c:pt idx="14">
                  <c:v>191043</c:v>
                </c:pt>
                <c:pt idx="15">
                  <c:v>197283</c:v>
                </c:pt>
                <c:pt idx="16">
                  <c:v>198011</c:v>
                </c:pt>
                <c:pt idx="17">
                  <c:v>221056</c:v>
                </c:pt>
                <c:pt idx="18">
                  <c:v>210415</c:v>
                </c:pt>
                <c:pt idx="19">
                  <c:v>206849</c:v>
                </c:pt>
                <c:pt idx="20">
                  <c:v>224009</c:v>
                </c:pt>
                <c:pt idx="21">
                  <c:v>231998</c:v>
                </c:pt>
                <c:pt idx="22">
                  <c:v>231381</c:v>
                </c:pt>
                <c:pt idx="23">
                  <c:v>223325</c:v>
                </c:pt>
                <c:pt idx="24">
                  <c:v>218656</c:v>
                </c:pt>
                <c:pt idx="25">
                  <c:v>225073</c:v>
                </c:pt>
                <c:pt idx="26">
                  <c:v>232443</c:v>
                </c:pt>
                <c:pt idx="27">
                  <c:v>212106</c:v>
                </c:pt>
                <c:pt idx="28">
                  <c:v>210668</c:v>
                </c:pt>
                <c:pt idx="29">
                  <c:v>211529</c:v>
                </c:pt>
                <c:pt idx="30">
                  <c:v>223533</c:v>
                </c:pt>
                <c:pt idx="31">
                  <c:v>204763</c:v>
                </c:pt>
                <c:pt idx="32">
                  <c:v>209921</c:v>
                </c:pt>
                <c:pt idx="33">
                  <c:v>195135</c:v>
                </c:pt>
                <c:pt idx="34">
                  <c:v>194172</c:v>
                </c:pt>
                <c:pt idx="35">
                  <c:v>208065</c:v>
                </c:pt>
                <c:pt idx="36">
                  <c:v>210916</c:v>
                </c:pt>
                <c:pt idx="37">
                  <c:v>206578</c:v>
                </c:pt>
                <c:pt idx="38">
                  <c:v>200877</c:v>
                </c:pt>
                <c:pt idx="39">
                  <c:v>201782</c:v>
                </c:pt>
                <c:pt idx="40">
                  <c:v>175444</c:v>
                </c:pt>
                <c:pt idx="41">
                  <c:v>170068</c:v>
                </c:pt>
                <c:pt idx="42">
                  <c:v>174841</c:v>
                </c:pt>
                <c:pt idx="43">
                  <c:v>184235</c:v>
                </c:pt>
                <c:pt idx="44">
                  <c:v>201502</c:v>
                </c:pt>
                <c:pt idx="45">
                  <c:v>201322</c:v>
                </c:pt>
                <c:pt idx="46">
                  <c:v>187375</c:v>
                </c:pt>
                <c:pt idx="47">
                  <c:v>195003</c:v>
                </c:pt>
                <c:pt idx="48">
                  <c:v>205928</c:v>
                </c:pt>
                <c:pt idx="49">
                  <c:v>198584</c:v>
                </c:pt>
                <c:pt idx="50">
                  <c:v>208188</c:v>
                </c:pt>
                <c:pt idx="51">
                  <c:v>144702</c:v>
                </c:pt>
                <c:pt idx="52">
                  <c:v>163390</c:v>
                </c:pt>
                <c:pt idx="53">
                  <c:v>151580</c:v>
                </c:pt>
                <c:pt idx="54">
                  <c:v>164814</c:v>
                </c:pt>
                <c:pt idx="55">
                  <c:v>181377</c:v>
                </c:pt>
                <c:pt idx="56">
                  <c:v>159309</c:v>
                </c:pt>
                <c:pt idx="57">
                  <c:v>128395</c:v>
                </c:pt>
                <c:pt idx="58">
                  <c:v>111491</c:v>
                </c:pt>
                <c:pt idx="59">
                  <c:v>104576</c:v>
                </c:pt>
                <c:pt idx="60">
                  <c:v>100988</c:v>
                </c:pt>
                <c:pt idx="61">
                  <c:v>102623</c:v>
                </c:pt>
                <c:pt idx="62">
                  <c:v>116290</c:v>
                </c:pt>
                <c:pt idx="63">
                  <c:v>141890</c:v>
                </c:pt>
                <c:pt idx="64">
                  <c:v>141298</c:v>
                </c:pt>
                <c:pt idx="65">
                  <c:v>143641</c:v>
                </c:pt>
                <c:pt idx="66">
                  <c:v>140093</c:v>
                </c:pt>
                <c:pt idx="67">
                  <c:v>136290</c:v>
                </c:pt>
                <c:pt idx="68">
                  <c:v>137277</c:v>
                </c:pt>
                <c:pt idx="69">
                  <c:v>143692</c:v>
                </c:pt>
                <c:pt idx="70">
                  <c:v>141578</c:v>
                </c:pt>
                <c:pt idx="71">
                  <c:v>136631</c:v>
                </c:pt>
                <c:pt idx="72">
                  <c:v>161423</c:v>
                </c:pt>
                <c:pt idx="73">
                  <c:v>170265</c:v>
                </c:pt>
                <c:pt idx="74">
                  <c:v>180800</c:v>
                </c:pt>
                <c:pt idx="75">
                  <c:v>172358</c:v>
                </c:pt>
                <c:pt idx="76">
                  <c:v>168335</c:v>
                </c:pt>
                <c:pt idx="77">
                  <c:v>169113</c:v>
                </c:pt>
                <c:pt idx="78">
                  <c:v>186694</c:v>
                </c:pt>
                <c:pt idx="79">
                  <c:v>153870</c:v>
                </c:pt>
                <c:pt idx="80">
                  <c:v>145073</c:v>
                </c:pt>
                <c:pt idx="81">
                  <c:v>138642</c:v>
                </c:pt>
                <c:pt idx="82">
                  <c:v>147686</c:v>
                </c:pt>
                <c:pt idx="83">
                  <c:v>166614</c:v>
                </c:pt>
                <c:pt idx="84">
                  <c:v>164711</c:v>
                </c:pt>
                <c:pt idx="85">
                  <c:v>170799</c:v>
                </c:pt>
                <c:pt idx="86">
                  <c:v>163977</c:v>
                </c:pt>
                <c:pt idx="87">
                  <c:v>173486</c:v>
                </c:pt>
                <c:pt idx="88">
                  <c:v>161689</c:v>
                </c:pt>
                <c:pt idx="89">
                  <c:v>163252</c:v>
                </c:pt>
                <c:pt idx="90">
                  <c:v>152022</c:v>
                </c:pt>
                <c:pt idx="91">
                  <c:v>168391</c:v>
                </c:pt>
                <c:pt idx="92">
                  <c:v>138092</c:v>
                </c:pt>
                <c:pt idx="93">
                  <c:v>131565</c:v>
                </c:pt>
                <c:pt idx="94">
                  <c:v>146205</c:v>
                </c:pt>
                <c:pt idx="95">
                  <c:v>163223</c:v>
                </c:pt>
                <c:pt idx="96">
                  <c:v>173652</c:v>
                </c:pt>
                <c:pt idx="97">
                  <c:v>118233</c:v>
                </c:pt>
                <c:pt idx="98">
                  <c:v>3774</c:v>
                </c:pt>
                <c:pt idx="99">
                  <c:v>2658</c:v>
                </c:pt>
                <c:pt idx="100">
                  <c:v>3268</c:v>
                </c:pt>
                <c:pt idx="101">
                  <c:v>1980</c:v>
                </c:pt>
                <c:pt idx="102">
                  <c:v>1327</c:v>
                </c:pt>
                <c:pt idx="103">
                  <c:v>1377</c:v>
                </c:pt>
                <c:pt idx="104">
                  <c:v>2156</c:v>
                </c:pt>
                <c:pt idx="105">
                  <c:v>3796</c:v>
                </c:pt>
                <c:pt idx="106">
                  <c:v>6619</c:v>
                </c:pt>
                <c:pt idx="107">
                  <c:v>856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226628</c:v>
                </c:pt>
                <c:pt idx="1">
                  <c:v>218506</c:v>
                </c:pt>
                <c:pt idx="2">
                  <c:v>218198</c:v>
                </c:pt>
                <c:pt idx="3">
                  <c:v>211602</c:v>
                </c:pt>
                <c:pt idx="4">
                  <c:v>219000</c:v>
                </c:pt>
                <c:pt idx="5">
                  <c:v>224728</c:v>
                </c:pt>
                <c:pt idx="6">
                  <c:v>221822</c:v>
                </c:pt>
                <c:pt idx="7">
                  <c:v>238864</c:v>
                </c:pt>
                <c:pt idx="8">
                  <c:v>243970</c:v>
                </c:pt>
                <c:pt idx="9">
                  <c:v>228515</c:v>
                </c:pt>
                <c:pt idx="10">
                  <c:v>229825</c:v>
                </c:pt>
                <c:pt idx="11">
                  <c:v>227890</c:v>
                </c:pt>
                <c:pt idx="12">
                  <c:v>219007</c:v>
                </c:pt>
                <c:pt idx="13">
                  <c:v>239397</c:v>
                </c:pt>
                <c:pt idx="14">
                  <c:v>212470</c:v>
                </c:pt>
                <c:pt idx="15">
                  <c:v>224764</c:v>
                </c:pt>
                <c:pt idx="16">
                  <c:v>214499</c:v>
                </c:pt>
                <c:pt idx="17">
                  <c:v>225972</c:v>
                </c:pt>
                <c:pt idx="18">
                  <c:v>210728</c:v>
                </c:pt>
                <c:pt idx="19">
                  <c:v>206971</c:v>
                </c:pt>
                <c:pt idx="20">
                  <c:v>224390</c:v>
                </c:pt>
                <c:pt idx="21">
                  <c:v>232430</c:v>
                </c:pt>
                <c:pt idx="22">
                  <c:v>231517</c:v>
                </c:pt>
                <c:pt idx="23">
                  <c:v>223656</c:v>
                </c:pt>
                <c:pt idx="24">
                  <c:v>219332</c:v>
                </c:pt>
                <c:pt idx="25">
                  <c:v>225387</c:v>
                </c:pt>
                <c:pt idx="26">
                  <c:v>232517</c:v>
                </c:pt>
                <c:pt idx="27">
                  <c:v>229096</c:v>
                </c:pt>
                <c:pt idx="28">
                  <c:v>245859</c:v>
                </c:pt>
                <c:pt idx="29">
                  <c:v>233763</c:v>
                </c:pt>
                <c:pt idx="30">
                  <c:v>249849</c:v>
                </c:pt>
                <c:pt idx="31">
                  <c:v>234462</c:v>
                </c:pt>
                <c:pt idx="32">
                  <c:v>235244</c:v>
                </c:pt>
                <c:pt idx="33">
                  <c:v>226988</c:v>
                </c:pt>
                <c:pt idx="34">
                  <c:v>232454</c:v>
                </c:pt>
                <c:pt idx="35">
                  <c:v>222318</c:v>
                </c:pt>
                <c:pt idx="36">
                  <c:v>211878</c:v>
                </c:pt>
                <c:pt idx="37">
                  <c:v>206844</c:v>
                </c:pt>
                <c:pt idx="38">
                  <c:v>211309</c:v>
                </c:pt>
                <c:pt idx="39">
                  <c:v>221829</c:v>
                </c:pt>
                <c:pt idx="40">
                  <c:v>204385</c:v>
                </c:pt>
                <c:pt idx="41">
                  <c:v>207977</c:v>
                </c:pt>
                <c:pt idx="42">
                  <c:v>205072</c:v>
                </c:pt>
                <c:pt idx="43">
                  <c:v>209566</c:v>
                </c:pt>
                <c:pt idx="44">
                  <c:v>203460</c:v>
                </c:pt>
                <c:pt idx="45">
                  <c:v>201449</c:v>
                </c:pt>
                <c:pt idx="46">
                  <c:v>188127</c:v>
                </c:pt>
                <c:pt idx="47">
                  <c:v>195601</c:v>
                </c:pt>
                <c:pt idx="48">
                  <c:v>206830</c:v>
                </c:pt>
                <c:pt idx="49">
                  <c:v>214134</c:v>
                </c:pt>
                <c:pt idx="50">
                  <c:v>224535</c:v>
                </c:pt>
                <c:pt idx="51">
                  <c:v>153468</c:v>
                </c:pt>
                <c:pt idx="52">
                  <c:v>170229</c:v>
                </c:pt>
                <c:pt idx="53">
                  <c:v>172730</c:v>
                </c:pt>
                <c:pt idx="54">
                  <c:v>177329</c:v>
                </c:pt>
                <c:pt idx="55">
                  <c:v>187659</c:v>
                </c:pt>
                <c:pt idx="56">
                  <c:v>196729</c:v>
                </c:pt>
                <c:pt idx="57">
                  <c:v>198544</c:v>
                </c:pt>
                <c:pt idx="58">
                  <c:v>186130</c:v>
                </c:pt>
                <c:pt idx="59">
                  <c:v>213755</c:v>
                </c:pt>
                <c:pt idx="60">
                  <c:v>204868</c:v>
                </c:pt>
                <c:pt idx="61">
                  <c:v>199474</c:v>
                </c:pt>
                <c:pt idx="62">
                  <c:v>189660</c:v>
                </c:pt>
                <c:pt idx="63">
                  <c:v>184486</c:v>
                </c:pt>
                <c:pt idx="64">
                  <c:v>182488</c:v>
                </c:pt>
                <c:pt idx="65">
                  <c:v>186182</c:v>
                </c:pt>
                <c:pt idx="66">
                  <c:v>179260</c:v>
                </c:pt>
                <c:pt idx="67">
                  <c:v>172235</c:v>
                </c:pt>
                <c:pt idx="68">
                  <c:v>170172</c:v>
                </c:pt>
                <c:pt idx="69">
                  <c:v>178954</c:v>
                </c:pt>
                <c:pt idx="70">
                  <c:v>175725</c:v>
                </c:pt>
                <c:pt idx="71">
                  <c:v>167090</c:v>
                </c:pt>
                <c:pt idx="72">
                  <c:v>176891</c:v>
                </c:pt>
                <c:pt idx="73">
                  <c:v>170684</c:v>
                </c:pt>
                <c:pt idx="74">
                  <c:v>181069</c:v>
                </c:pt>
                <c:pt idx="75">
                  <c:v>172723</c:v>
                </c:pt>
                <c:pt idx="76">
                  <c:v>169691</c:v>
                </c:pt>
                <c:pt idx="77">
                  <c:v>169425</c:v>
                </c:pt>
                <c:pt idx="78">
                  <c:v>187137</c:v>
                </c:pt>
                <c:pt idx="79">
                  <c:v>172788</c:v>
                </c:pt>
                <c:pt idx="80">
                  <c:v>180552</c:v>
                </c:pt>
                <c:pt idx="81">
                  <c:v>174248</c:v>
                </c:pt>
                <c:pt idx="82">
                  <c:v>182203</c:v>
                </c:pt>
                <c:pt idx="83">
                  <c:v>176906</c:v>
                </c:pt>
                <c:pt idx="84">
                  <c:v>173258</c:v>
                </c:pt>
                <c:pt idx="85">
                  <c:v>170971</c:v>
                </c:pt>
                <c:pt idx="86">
                  <c:v>169698</c:v>
                </c:pt>
                <c:pt idx="87">
                  <c:v>173861</c:v>
                </c:pt>
                <c:pt idx="88">
                  <c:v>162085</c:v>
                </c:pt>
                <c:pt idx="89">
                  <c:v>163540</c:v>
                </c:pt>
                <c:pt idx="90">
                  <c:v>162004</c:v>
                </c:pt>
                <c:pt idx="91">
                  <c:v>189970</c:v>
                </c:pt>
                <c:pt idx="92">
                  <c:v>172695</c:v>
                </c:pt>
                <c:pt idx="93">
                  <c:v>175648</c:v>
                </c:pt>
                <c:pt idx="94">
                  <c:v>167038</c:v>
                </c:pt>
                <c:pt idx="95">
                  <c:v>163483</c:v>
                </c:pt>
                <c:pt idx="96">
                  <c:v>174043</c:v>
                </c:pt>
                <c:pt idx="97">
                  <c:v>168558</c:v>
                </c:pt>
                <c:pt idx="98">
                  <c:v>162738</c:v>
                </c:pt>
                <c:pt idx="99">
                  <c:v>155740</c:v>
                </c:pt>
                <c:pt idx="100">
                  <c:v>172148</c:v>
                </c:pt>
                <c:pt idx="101">
                  <c:v>173933</c:v>
                </c:pt>
                <c:pt idx="102">
                  <c:v>188419</c:v>
                </c:pt>
                <c:pt idx="103">
                  <c:v>159811</c:v>
                </c:pt>
                <c:pt idx="104">
                  <c:v>166633</c:v>
                </c:pt>
                <c:pt idx="105">
                  <c:v>154298</c:v>
                </c:pt>
                <c:pt idx="106">
                  <c:v>156691</c:v>
                </c:pt>
                <c:pt idx="107">
                  <c:v>14364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208679</c:v>
                </c:pt>
                <c:pt idx="1">
                  <c:v>210664</c:v>
                </c:pt>
                <c:pt idx="2">
                  <c:v>213028</c:v>
                </c:pt>
                <c:pt idx="3">
                  <c:v>213429</c:v>
                </c:pt>
                <c:pt idx="4">
                  <c:v>214630</c:v>
                </c:pt>
                <c:pt idx="5">
                  <c:v>217591</c:v>
                </c:pt>
                <c:pt idx="6">
                  <c:v>223315</c:v>
                </c:pt>
                <c:pt idx="7">
                  <c:v>232842</c:v>
                </c:pt>
                <c:pt idx="8">
                  <c:v>234011</c:v>
                </c:pt>
                <c:pt idx="9">
                  <c:v>232595</c:v>
                </c:pt>
                <c:pt idx="10">
                  <c:v>230861</c:v>
                </c:pt>
                <c:pt idx="11">
                  <c:v>229055</c:v>
                </c:pt>
                <c:pt idx="12">
                  <c:v>227485</c:v>
                </c:pt>
                <c:pt idx="13">
                  <c:v>224842</c:v>
                </c:pt>
                <c:pt idx="14">
                  <c:v>223832</c:v>
                </c:pt>
                <c:pt idx="15">
                  <c:v>221427</c:v>
                </c:pt>
                <c:pt idx="16">
                  <c:v>218736</c:v>
                </c:pt>
                <c:pt idx="17">
                  <c:v>219752</c:v>
                </c:pt>
                <c:pt idx="18">
                  <c:v>218940</c:v>
                </c:pt>
                <c:pt idx="19">
                  <c:v>221427</c:v>
                </c:pt>
                <c:pt idx="20">
                  <c:v>221537</c:v>
                </c:pt>
                <c:pt idx="21">
                  <c:v>222229</c:v>
                </c:pt>
                <c:pt idx="22">
                  <c:v>222104</c:v>
                </c:pt>
                <c:pt idx="23">
                  <c:v>224837</c:v>
                </c:pt>
                <c:pt idx="24">
                  <c:v>227525</c:v>
                </c:pt>
                <c:pt idx="25">
                  <c:v>229798</c:v>
                </c:pt>
                <c:pt idx="26">
                  <c:v>229706</c:v>
                </c:pt>
                <c:pt idx="27">
                  <c:v>231717</c:v>
                </c:pt>
                <c:pt idx="28">
                  <c:v>232983</c:v>
                </c:pt>
                <c:pt idx="29">
                  <c:v>234607</c:v>
                </c:pt>
                <c:pt idx="30">
                  <c:v>235284</c:v>
                </c:pt>
                <c:pt idx="31">
                  <c:v>234497</c:v>
                </c:pt>
                <c:pt idx="32">
                  <c:v>234197</c:v>
                </c:pt>
                <c:pt idx="33">
                  <c:v>229342</c:v>
                </c:pt>
                <c:pt idx="34">
                  <c:v>226332</c:v>
                </c:pt>
                <c:pt idx="35">
                  <c:v>221874</c:v>
                </c:pt>
                <c:pt idx="36">
                  <c:v>220486</c:v>
                </c:pt>
                <c:pt idx="37">
                  <c:v>216803</c:v>
                </c:pt>
                <c:pt idx="38">
                  <c:v>214492</c:v>
                </c:pt>
                <c:pt idx="39">
                  <c:v>211483</c:v>
                </c:pt>
                <c:pt idx="40">
                  <c:v>209658</c:v>
                </c:pt>
                <c:pt idx="41">
                  <c:v>208425</c:v>
                </c:pt>
                <c:pt idx="42">
                  <c:v>207246</c:v>
                </c:pt>
                <c:pt idx="43">
                  <c:v>204717</c:v>
                </c:pt>
                <c:pt idx="44">
                  <c:v>201928</c:v>
                </c:pt>
                <c:pt idx="45">
                  <c:v>202228</c:v>
                </c:pt>
                <c:pt idx="46">
                  <c:v>203930</c:v>
                </c:pt>
                <c:pt idx="47">
                  <c:v>207653</c:v>
                </c:pt>
                <c:pt idx="48">
                  <c:v>201632</c:v>
                </c:pt>
                <c:pt idx="49">
                  <c:v>195576</c:v>
                </c:pt>
                <c:pt idx="50">
                  <c:v>189930</c:v>
                </c:pt>
                <c:pt idx="51">
                  <c:v>217951</c:v>
                </c:pt>
                <c:pt idx="52">
                  <c:v>218305</c:v>
                </c:pt>
                <c:pt idx="53">
                  <c:v>206886</c:v>
                </c:pt>
                <c:pt idx="54">
                  <c:v>191214</c:v>
                </c:pt>
                <c:pt idx="55">
                  <c:v>177297</c:v>
                </c:pt>
                <c:pt idx="56">
                  <c:v>180766</c:v>
                </c:pt>
                <c:pt idx="57">
                  <c:v>194454</c:v>
                </c:pt>
                <c:pt idx="58">
                  <c:v>194309</c:v>
                </c:pt>
                <c:pt idx="59">
                  <c:v>195500</c:v>
                </c:pt>
                <c:pt idx="60">
                  <c:v>199670</c:v>
                </c:pt>
                <c:pt idx="61">
                  <c:v>197838</c:v>
                </c:pt>
                <c:pt idx="62">
                  <c:v>196618</c:v>
                </c:pt>
                <c:pt idx="63">
                  <c:v>194133</c:v>
                </c:pt>
                <c:pt idx="64">
                  <c:v>190848</c:v>
                </c:pt>
                <c:pt idx="65">
                  <c:v>188595</c:v>
                </c:pt>
                <c:pt idx="66">
                  <c:v>187158</c:v>
                </c:pt>
                <c:pt idx="67">
                  <c:v>181264</c:v>
                </c:pt>
                <c:pt idx="68">
                  <c:v>175655</c:v>
                </c:pt>
                <c:pt idx="69">
                  <c:v>175769</c:v>
                </c:pt>
                <c:pt idx="70">
                  <c:v>173679</c:v>
                </c:pt>
                <c:pt idx="71">
                  <c:v>173215</c:v>
                </c:pt>
                <c:pt idx="72">
                  <c:v>174206</c:v>
                </c:pt>
                <c:pt idx="73">
                  <c:v>174013</c:v>
                </c:pt>
                <c:pt idx="74">
                  <c:v>172824</c:v>
                </c:pt>
                <c:pt idx="75">
                  <c:v>174406</c:v>
                </c:pt>
                <c:pt idx="76">
                  <c:v>174967</c:v>
                </c:pt>
                <c:pt idx="77">
                  <c:v>175654</c:v>
                </c:pt>
                <c:pt idx="78">
                  <c:v>176067</c:v>
                </c:pt>
                <c:pt idx="79">
                  <c:v>175677</c:v>
                </c:pt>
                <c:pt idx="80">
                  <c:v>176362</c:v>
                </c:pt>
                <c:pt idx="81">
                  <c:v>176790</c:v>
                </c:pt>
                <c:pt idx="82">
                  <c:v>177822</c:v>
                </c:pt>
                <c:pt idx="83">
                  <c:v>175016</c:v>
                </c:pt>
                <c:pt idx="84">
                  <c:v>175094</c:v>
                </c:pt>
                <c:pt idx="85">
                  <c:v>173055</c:v>
                </c:pt>
                <c:pt idx="86">
                  <c:v>171677</c:v>
                </c:pt>
                <c:pt idx="87">
                  <c:v>169263</c:v>
                </c:pt>
                <c:pt idx="88">
                  <c:v>170698</c:v>
                </c:pt>
                <c:pt idx="89">
                  <c:v>170449</c:v>
                </c:pt>
                <c:pt idx="90">
                  <c:v>170798</c:v>
                </c:pt>
                <c:pt idx="91">
                  <c:v>170724</c:v>
                </c:pt>
                <c:pt idx="92">
                  <c:v>169019</c:v>
                </c:pt>
                <c:pt idx="93">
                  <c:v>170813</c:v>
                </c:pt>
                <c:pt idx="94">
                  <c:v>171476</c:v>
                </c:pt>
                <c:pt idx="95">
                  <c:v>172667</c:v>
                </c:pt>
                <c:pt idx="96">
                  <c:v>170101</c:v>
                </c:pt>
                <c:pt idx="97">
                  <c:v>170021</c:v>
                </c:pt>
                <c:pt idx="98">
                  <c:v>168947</c:v>
                </c:pt>
                <c:pt idx="99">
                  <c:v>168245</c:v>
                </c:pt>
                <c:pt idx="100">
                  <c:v>174712</c:v>
                </c:pt>
                <c:pt idx="101">
                  <c:v>174949</c:v>
                </c:pt>
                <c:pt idx="102">
                  <c:v>175392</c:v>
                </c:pt>
                <c:pt idx="103">
                  <c:v>172538</c:v>
                </c:pt>
                <c:pt idx="104">
                  <c:v>175739</c:v>
                </c:pt>
                <c:pt idx="105">
                  <c:v>167841</c:v>
                </c:pt>
                <c:pt idx="106">
                  <c:v>175339</c:v>
                </c:pt>
                <c:pt idx="107">
                  <c:v>16082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17</c:v>
                </c:pt>
                <c:pt idx="1">
                  <c:v>0.09</c:v>
                </c:pt>
                <c:pt idx="2">
                  <c:v>7.0000000000000007E-2</c:v>
                </c:pt>
                <c:pt idx="3">
                  <c:v>0.04</c:v>
                </c:pt>
                <c:pt idx="4">
                  <c:v>0.02</c:v>
                </c:pt>
                <c:pt idx="5">
                  <c:v>0.12</c:v>
                </c:pt>
                <c:pt idx="6">
                  <c:v>0.15</c:v>
                </c:pt>
                <c:pt idx="7">
                  <c:v>0.16</c:v>
                </c:pt>
                <c:pt idx="8">
                  <c:v>0.12</c:v>
                </c:pt>
                <c:pt idx="9">
                  <c:v>0.12</c:v>
                </c:pt>
                <c:pt idx="10">
                  <c:v>0.13</c:v>
                </c:pt>
                <c:pt idx="11">
                  <c:v>0.12</c:v>
                </c:pt>
                <c:pt idx="12">
                  <c:v>0.11</c:v>
                </c:pt>
                <c:pt idx="13">
                  <c:v>0.1</c:v>
                </c:pt>
                <c:pt idx="14">
                  <c:v>0.11</c:v>
                </c:pt>
                <c:pt idx="15">
                  <c:v>0.13</c:v>
                </c:pt>
                <c:pt idx="16">
                  <c:v>0.1</c:v>
                </c:pt>
                <c:pt idx="17">
                  <c:v>0.02</c:v>
                </c:pt>
                <c:pt idx="18">
                  <c:v>0</c:v>
                </c:pt>
                <c:pt idx="19">
                  <c:v>0</c:v>
                </c:pt>
                <c:pt idx="20">
                  <c:v>0</c:v>
                </c:pt>
                <c:pt idx="21">
                  <c:v>0</c:v>
                </c:pt>
                <c:pt idx="22">
                  <c:v>0</c:v>
                </c:pt>
                <c:pt idx="23">
                  <c:v>0</c:v>
                </c:pt>
                <c:pt idx="24">
                  <c:v>0</c:v>
                </c:pt>
                <c:pt idx="25">
                  <c:v>0</c:v>
                </c:pt>
                <c:pt idx="26">
                  <c:v>0</c:v>
                </c:pt>
                <c:pt idx="27">
                  <c:v>0.08</c:v>
                </c:pt>
                <c:pt idx="28">
                  <c:v>0.17</c:v>
                </c:pt>
                <c:pt idx="29">
                  <c:v>0.15</c:v>
                </c:pt>
                <c:pt idx="30">
                  <c:v>0.14000000000000001</c:v>
                </c:pt>
                <c:pt idx="31">
                  <c:v>0.14000000000000001</c:v>
                </c:pt>
                <c:pt idx="32">
                  <c:v>0.13</c:v>
                </c:pt>
                <c:pt idx="33">
                  <c:v>0.15</c:v>
                </c:pt>
                <c:pt idx="34">
                  <c:v>0.17</c:v>
                </c:pt>
                <c:pt idx="35">
                  <c:v>7.0000000000000007E-2</c:v>
                </c:pt>
                <c:pt idx="36">
                  <c:v>0.01</c:v>
                </c:pt>
                <c:pt idx="37">
                  <c:v>0</c:v>
                </c:pt>
                <c:pt idx="38">
                  <c:v>7.0000000000000007E-2</c:v>
                </c:pt>
                <c:pt idx="39">
                  <c:v>0.11</c:v>
                </c:pt>
                <c:pt idx="40">
                  <c:v>0.17</c:v>
                </c:pt>
                <c:pt idx="41">
                  <c:v>0.2</c:v>
                </c:pt>
                <c:pt idx="42">
                  <c:v>0.18</c:v>
                </c:pt>
                <c:pt idx="43">
                  <c:v>0.13</c:v>
                </c:pt>
                <c:pt idx="44">
                  <c:v>0.01</c:v>
                </c:pt>
                <c:pt idx="45">
                  <c:v>0</c:v>
                </c:pt>
                <c:pt idx="46">
                  <c:v>0</c:v>
                </c:pt>
                <c:pt idx="47">
                  <c:v>0</c:v>
                </c:pt>
                <c:pt idx="48">
                  <c:v>0.01</c:v>
                </c:pt>
                <c:pt idx="49">
                  <c:v>0.12</c:v>
                </c:pt>
                <c:pt idx="50">
                  <c:v>0.13</c:v>
                </c:pt>
                <c:pt idx="51">
                  <c:v>0.1</c:v>
                </c:pt>
                <c:pt idx="52">
                  <c:v>0.06</c:v>
                </c:pt>
                <c:pt idx="53">
                  <c:v>0.19</c:v>
                </c:pt>
                <c:pt idx="54">
                  <c:v>0.13</c:v>
                </c:pt>
                <c:pt idx="55">
                  <c:v>0.06</c:v>
                </c:pt>
                <c:pt idx="56">
                  <c:v>0.22</c:v>
                </c:pt>
                <c:pt idx="57">
                  <c:v>0.38</c:v>
                </c:pt>
                <c:pt idx="58">
                  <c:v>0.42</c:v>
                </c:pt>
                <c:pt idx="59">
                  <c:v>0.53</c:v>
                </c:pt>
                <c:pt idx="60">
                  <c:v>0.52</c:v>
                </c:pt>
                <c:pt idx="61">
                  <c:v>0.5</c:v>
                </c:pt>
                <c:pt idx="62">
                  <c:v>0.4</c:v>
                </c:pt>
                <c:pt idx="63">
                  <c:v>0.23</c:v>
                </c:pt>
                <c:pt idx="64">
                  <c:v>0.23</c:v>
                </c:pt>
                <c:pt idx="65">
                  <c:v>0.23</c:v>
                </c:pt>
                <c:pt idx="66">
                  <c:v>0.22</c:v>
                </c:pt>
                <c:pt idx="67">
                  <c:v>0.21</c:v>
                </c:pt>
                <c:pt idx="68">
                  <c:v>0.19</c:v>
                </c:pt>
                <c:pt idx="69">
                  <c:v>0.2</c:v>
                </c:pt>
                <c:pt idx="70">
                  <c:v>0.2</c:v>
                </c:pt>
                <c:pt idx="71">
                  <c:v>0.19</c:v>
                </c:pt>
                <c:pt idx="72">
                  <c:v>0.09</c:v>
                </c:pt>
                <c:pt idx="73">
                  <c:v>0</c:v>
                </c:pt>
                <c:pt idx="74">
                  <c:v>0</c:v>
                </c:pt>
                <c:pt idx="75">
                  <c:v>0</c:v>
                </c:pt>
                <c:pt idx="76">
                  <c:v>0.01</c:v>
                </c:pt>
                <c:pt idx="77">
                  <c:v>0</c:v>
                </c:pt>
                <c:pt idx="78">
                  <c:v>0</c:v>
                </c:pt>
                <c:pt idx="79">
                  <c:v>0.12</c:v>
                </c:pt>
                <c:pt idx="80">
                  <c:v>0.21</c:v>
                </c:pt>
                <c:pt idx="81">
                  <c:v>0.22</c:v>
                </c:pt>
                <c:pt idx="82">
                  <c:v>0.19</c:v>
                </c:pt>
                <c:pt idx="83">
                  <c:v>0.06</c:v>
                </c:pt>
                <c:pt idx="84">
                  <c:v>0.05</c:v>
                </c:pt>
                <c:pt idx="85">
                  <c:v>0</c:v>
                </c:pt>
                <c:pt idx="86">
                  <c:v>0.03</c:v>
                </c:pt>
                <c:pt idx="87">
                  <c:v>0</c:v>
                </c:pt>
                <c:pt idx="88">
                  <c:v>0</c:v>
                </c:pt>
                <c:pt idx="89">
                  <c:v>0</c:v>
                </c:pt>
                <c:pt idx="90">
                  <c:v>7.0000000000000007E-2</c:v>
                </c:pt>
                <c:pt idx="91">
                  <c:v>0.12</c:v>
                </c:pt>
                <c:pt idx="92">
                  <c:v>0.23</c:v>
                </c:pt>
                <c:pt idx="93">
                  <c:v>0.26</c:v>
                </c:pt>
                <c:pt idx="94">
                  <c:v>0.13</c:v>
                </c:pt>
                <c:pt idx="95">
                  <c:v>0</c:v>
                </c:pt>
                <c:pt idx="96">
                  <c:v>0</c:v>
                </c:pt>
                <c:pt idx="97">
                  <c:v>0.32</c:v>
                </c:pt>
                <c:pt idx="98">
                  <c:v>0.98</c:v>
                </c:pt>
                <c:pt idx="99">
                  <c:v>0.98</c:v>
                </c:pt>
                <c:pt idx="100">
                  <c:v>0.98</c:v>
                </c:pt>
                <c:pt idx="101">
                  <c:v>0.99</c:v>
                </c:pt>
                <c:pt idx="102">
                  <c:v>0.99</c:v>
                </c:pt>
                <c:pt idx="103">
                  <c:v>0.99</c:v>
                </c:pt>
                <c:pt idx="104">
                  <c:v>0.99</c:v>
                </c:pt>
                <c:pt idx="105">
                  <c:v>0.97</c:v>
                </c:pt>
                <c:pt idx="106">
                  <c:v>0.96</c:v>
                </c:pt>
                <c:pt idx="107">
                  <c:v>0.9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48</c:v>
                </c:pt>
                <c:pt idx="1">
                  <c:v>9663</c:v>
                </c:pt>
                <c:pt idx="2">
                  <c:v>6992</c:v>
                </c:pt>
                <c:pt idx="3">
                  <c:v>2878</c:v>
                </c:pt>
                <c:pt idx="4">
                  <c:v>2476</c:v>
                </c:pt>
                <c:pt idx="5">
                  <c:v>1123</c:v>
                </c:pt>
                <c:pt idx="6">
                  <c:v>1062</c:v>
                </c:pt>
                <c:pt idx="7">
                  <c:v>1267</c:v>
                </c:pt>
                <c:pt idx="8">
                  <c:v>1097</c:v>
                </c:pt>
                <c:pt idx="9">
                  <c:v>945</c:v>
                </c:pt>
                <c:pt idx="10">
                  <c:v>474</c:v>
                </c:pt>
                <c:pt idx="11">
                  <c:v>3036</c:v>
                </c:pt>
                <c:pt idx="12">
                  <c:v>2641</c:v>
                </c:pt>
                <c:pt idx="13">
                  <c:v>388</c:v>
                </c:pt>
                <c:pt idx="14">
                  <c:v>421</c:v>
                </c:pt>
                <c:pt idx="15">
                  <c:v>411</c:v>
                </c:pt>
                <c:pt idx="16">
                  <c:v>209</c:v>
                </c:pt>
                <c:pt idx="17">
                  <c:v>247</c:v>
                </c:pt>
                <c:pt idx="18">
                  <c:v>215</c:v>
                </c:pt>
                <c:pt idx="19">
                  <c:v>154</c:v>
                </c:pt>
                <c:pt idx="20">
                  <c:v>441</c:v>
                </c:pt>
                <c:pt idx="21">
                  <c:v>9418</c:v>
                </c:pt>
                <c:pt idx="22">
                  <c:v>604</c:v>
                </c:pt>
                <c:pt idx="23">
                  <c:v>979</c:v>
                </c:pt>
                <c:pt idx="24">
                  <c:v>2297</c:v>
                </c:pt>
                <c:pt idx="25">
                  <c:v>1028</c:v>
                </c:pt>
                <c:pt idx="26">
                  <c:v>539</c:v>
                </c:pt>
                <c:pt idx="27">
                  <c:v>1838</c:v>
                </c:pt>
                <c:pt idx="28">
                  <c:v>22812</c:v>
                </c:pt>
                <c:pt idx="29">
                  <c:v>14860</c:v>
                </c:pt>
                <c:pt idx="30">
                  <c:v>6451</c:v>
                </c:pt>
                <c:pt idx="31">
                  <c:v>4828</c:v>
                </c:pt>
                <c:pt idx="32">
                  <c:v>6304</c:v>
                </c:pt>
                <c:pt idx="33">
                  <c:v>6068</c:v>
                </c:pt>
                <c:pt idx="34">
                  <c:v>5222</c:v>
                </c:pt>
                <c:pt idx="35">
                  <c:v>6029</c:v>
                </c:pt>
                <c:pt idx="36">
                  <c:v>14219</c:v>
                </c:pt>
                <c:pt idx="37">
                  <c:v>19771</c:v>
                </c:pt>
                <c:pt idx="38">
                  <c:v>21449</c:v>
                </c:pt>
                <c:pt idx="39">
                  <c:v>18524</c:v>
                </c:pt>
                <c:pt idx="40">
                  <c:v>14715</c:v>
                </c:pt>
                <c:pt idx="41">
                  <c:v>12943</c:v>
                </c:pt>
                <c:pt idx="42">
                  <c:v>10206</c:v>
                </c:pt>
                <c:pt idx="43">
                  <c:v>8373</c:v>
                </c:pt>
                <c:pt idx="44">
                  <c:v>7078</c:v>
                </c:pt>
                <c:pt idx="45">
                  <c:v>5558</c:v>
                </c:pt>
                <c:pt idx="46">
                  <c:v>4483</c:v>
                </c:pt>
                <c:pt idx="47">
                  <c:v>1043</c:v>
                </c:pt>
                <c:pt idx="48">
                  <c:v>2033</c:v>
                </c:pt>
                <c:pt idx="49">
                  <c:v>5879</c:v>
                </c:pt>
                <c:pt idx="50">
                  <c:v>9718</c:v>
                </c:pt>
                <c:pt idx="51">
                  <c:v>5487</c:v>
                </c:pt>
                <c:pt idx="52">
                  <c:v>25354</c:v>
                </c:pt>
                <c:pt idx="53">
                  <c:v>53287</c:v>
                </c:pt>
                <c:pt idx="54">
                  <c:v>53470</c:v>
                </c:pt>
                <c:pt idx="55">
                  <c:v>57988</c:v>
                </c:pt>
                <c:pt idx="56">
                  <c:v>58672</c:v>
                </c:pt>
                <c:pt idx="57">
                  <c:v>64260</c:v>
                </c:pt>
                <c:pt idx="58">
                  <c:v>53172</c:v>
                </c:pt>
                <c:pt idx="59">
                  <c:v>23706</c:v>
                </c:pt>
                <c:pt idx="60">
                  <c:v>2874</c:v>
                </c:pt>
                <c:pt idx="61">
                  <c:v>1749</c:v>
                </c:pt>
                <c:pt idx="62">
                  <c:v>1305</c:v>
                </c:pt>
                <c:pt idx="63">
                  <c:v>1734</c:v>
                </c:pt>
                <c:pt idx="64">
                  <c:v>1858</c:v>
                </c:pt>
                <c:pt idx="65">
                  <c:v>21370</c:v>
                </c:pt>
                <c:pt idx="66">
                  <c:v>34551</c:v>
                </c:pt>
                <c:pt idx="67">
                  <c:v>35288</c:v>
                </c:pt>
                <c:pt idx="68">
                  <c:v>34168</c:v>
                </c:pt>
                <c:pt idx="69">
                  <c:v>38784</c:v>
                </c:pt>
                <c:pt idx="70">
                  <c:v>52029</c:v>
                </c:pt>
                <c:pt idx="71">
                  <c:v>60068</c:v>
                </c:pt>
                <c:pt idx="72">
                  <c:v>62321</c:v>
                </c:pt>
                <c:pt idx="73">
                  <c:v>59826</c:v>
                </c:pt>
                <c:pt idx="74">
                  <c:v>62224</c:v>
                </c:pt>
                <c:pt idx="75">
                  <c:v>66601</c:v>
                </c:pt>
                <c:pt idx="76">
                  <c:v>37911</c:v>
                </c:pt>
                <c:pt idx="77">
                  <c:v>39380</c:v>
                </c:pt>
                <c:pt idx="78">
                  <c:v>21467</c:v>
                </c:pt>
                <c:pt idx="79">
                  <c:v>20463</c:v>
                </c:pt>
                <c:pt idx="80">
                  <c:v>16781</c:v>
                </c:pt>
                <c:pt idx="81">
                  <c:v>17109</c:v>
                </c:pt>
                <c:pt idx="82">
                  <c:v>11397</c:v>
                </c:pt>
                <c:pt idx="83">
                  <c:v>9249</c:v>
                </c:pt>
                <c:pt idx="84">
                  <c:v>29622</c:v>
                </c:pt>
                <c:pt idx="85">
                  <c:v>27924</c:v>
                </c:pt>
                <c:pt idx="86">
                  <c:v>24710</c:v>
                </c:pt>
                <c:pt idx="87">
                  <c:v>8451</c:v>
                </c:pt>
                <c:pt idx="88">
                  <c:v>9854</c:v>
                </c:pt>
                <c:pt idx="89">
                  <c:v>6809</c:v>
                </c:pt>
                <c:pt idx="90">
                  <c:v>6203</c:v>
                </c:pt>
                <c:pt idx="91">
                  <c:v>6665</c:v>
                </c:pt>
                <c:pt idx="92">
                  <c:v>9526</c:v>
                </c:pt>
                <c:pt idx="93">
                  <c:v>10529</c:v>
                </c:pt>
                <c:pt idx="94">
                  <c:v>13879</c:v>
                </c:pt>
                <c:pt idx="95">
                  <c:v>9955</c:v>
                </c:pt>
                <c:pt idx="96">
                  <c:v>8168</c:v>
                </c:pt>
                <c:pt idx="97">
                  <c:v>5881</c:v>
                </c:pt>
                <c:pt idx="98">
                  <c:v>2718</c:v>
                </c:pt>
                <c:pt idx="99">
                  <c:v>1690</c:v>
                </c:pt>
                <c:pt idx="100">
                  <c:v>2164</c:v>
                </c:pt>
                <c:pt idx="101">
                  <c:v>2509</c:v>
                </c:pt>
                <c:pt idx="102">
                  <c:v>2662</c:v>
                </c:pt>
                <c:pt idx="103">
                  <c:v>3855</c:v>
                </c:pt>
                <c:pt idx="104">
                  <c:v>1703</c:v>
                </c:pt>
                <c:pt idx="105">
                  <c:v>8347</c:v>
                </c:pt>
                <c:pt idx="106">
                  <c:v>19416</c:v>
                </c:pt>
                <c:pt idx="107">
                  <c:v>21072</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29356</c:v>
                </c:pt>
                <c:pt idx="1">
                  <c:v>423274</c:v>
                </c:pt>
                <c:pt idx="2">
                  <c:v>419448</c:v>
                </c:pt>
                <c:pt idx="3">
                  <c:v>411013</c:v>
                </c:pt>
                <c:pt idx="4">
                  <c:v>431352</c:v>
                </c:pt>
                <c:pt idx="5">
                  <c:v>433546</c:v>
                </c:pt>
                <c:pt idx="6">
                  <c:v>424858</c:v>
                </c:pt>
                <c:pt idx="7">
                  <c:v>457088</c:v>
                </c:pt>
                <c:pt idx="8">
                  <c:v>477073</c:v>
                </c:pt>
                <c:pt idx="9">
                  <c:v>464747</c:v>
                </c:pt>
                <c:pt idx="10">
                  <c:v>445191</c:v>
                </c:pt>
                <c:pt idx="11">
                  <c:v>443371</c:v>
                </c:pt>
                <c:pt idx="12">
                  <c:v>442136</c:v>
                </c:pt>
                <c:pt idx="13">
                  <c:v>490566</c:v>
                </c:pt>
                <c:pt idx="14">
                  <c:v>441671</c:v>
                </c:pt>
                <c:pt idx="15">
                  <c:v>458451</c:v>
                </c:pt>
                <c:pt idx="16">
                  <c:v>446118</c:v>
                </c:pt>
                <c:pt idx="17">
                  <c:v>492088</c:v>
                </c:pt>
                <c:pt idx="18">
                  <c:v>462955</c:v>
                </c:pt>
                <c:pt idx="19">
                  <c:v>456950</c:v>
                </c:pt>
                <c:pt idx="20">
                  <c:v>470299</c:v>
                </c:pt>
                <c:pt idx="21">
                  <c:v>499516</c:v>
                </c:pt>
                <c:pt idx="22">
                  <c:v>529847</c:v>
                </c:pt>
                <c:pt idx="23">
                  <c:v>511920</c:v>
                </c:pt>
                <c:pt idx="24">
                  <c:v>496695</c:v>
                </c:pt>
                <c:pt idx="25">
                  <c:v>501999</c:v>
                </c:pt>
                <c:pt idx="26">
                  <c:v>521046</c:v>
                </c:pt>
                <c:pt idx="27">
                  <c:v>501496</c:v>
                </c:pt>
                <c:pt idx="28">
                  <c:v>486230</c:v>
                </c:pt>
                <c:pt idx="29">
                  <c:v>496542</c:v>
                </c:pt>
                <c:pt idx="30">
                  <c:v>542652</c:v>
                </c:pt>
                <c:pt idx="31">
                  <c:v>513662</c:v>
                </c:pt>
                <c:pt idx="32">
                  <c:v>507831</c:v>
                </c:pt>
                <c:pt idx="33">
                  <c:v>490155</c:v>
                </c:pt>
                <c:pt idx="34">
                  <c:v>497328</c:v>
                </c:pt>
                <c:pt idx="35">
                  <c:v>487577</c:v>
                </c:pt>
                <c:pt idx="36">
                  <c:v>466192</c:v>
                </c:pt>
                <c:pt idx="37">
                  <c:v>457544</c:v>
                </c:pt>
                <c:pt idx="38">
                  <c:v>450183</c:v>
                </c:pt>
                <c:pt idx="39">
                  <c:v>467944</c:v>
                </c:pt>
                <c:pt idx="40">
                  <c:v>442891</c:v>
                </c:pt>
                <c:pt idx="41">
                  <c:v>436351</c:v>
                </c:pt>
                <c:pt idx="42">
                  <c:v>430858</c:v>
                </c:pt>
                <c:pt idx="43">
                  <c:v>445699</c:v>
                </c:pt>
                <c:pt idx="44">
                  <c:v>453052</c:v>
                </c:pt>
                <c:pt idx="45">
                  <c:v>427163</c:v>
                </c:pt>
                <c:pt idx="46">
                  <c:v>403605</c:v>
                </c:pt>
                <c:pt idx="47">
                  <c:v>444929</c:v>
                </c:pt>
                <c:pt idx="48">
                  <c:v>468300</c:v>
                </c:pt>
                <c:pt idx="49">
                  <c:v>450034</c:v>
                </c:pt>
                <c:pt idx="50">
                  <c:v>496034</c:v>
                </c:pt>
                <c:pt idx="51">
                  <c:v>401453</c:v>
                </c:pt>
                <c:pt idx="52">
                  <c:v>424704</c:v>
                </c:pt>
                <c:pt idx="53">
                  <c:v>374379</c:v>
                </c:pt>
                <c:pt idx="54">
                  <c:v>365148</c:v>
                </c:pt>
                <c:pt idx="55">
                  <c:v>390629</c:v>
                </c:pt>
                <c:pt idx="56">
                  <c:v>413006</c:v>
                </c:pt>
                <c:pt idx="57">
                  <c:v>399853</c:v>
                </c:pt>
                <c:pt idx="58">
                  <c:v>402305</c:v>
                </c:pt>
                <c:pt idx="59">
                  <c:v>463879</c:v>
                </c:pt>
                <c:pt idx="60">
                  <c:v>492657</c:v>
                </c:pt>
                <c:pt idx="61">
                  <c:v>480861</c:v>
                </c:pt>
                <c:pt idx="62">
                  <c:v>473422</c:v>
                </c:pt>
                <c:pt idx="63">
                  <c:v>470745</c:v>
                </c:pt>
                <c:pt idx="64">
                  <c:v>485661</c:v>
                </c:pt>
                <c:pt idx="65">
                  <c:v>492088</c:v>
                </c:pt>
                <c:pt idx="66">
                  <c:v>436855</c:v>
                </c:pt>
                <c:pt idx="67">
                  <c:v>406849</c:v>
                </c:pt>
                <c:pt idx="68">
                  <c:v>356468</c:v>
                </c:pt>
                <c:pt idx="69">
                  <c:v>388942</c:v>
                </c:pt>
                <c:pt idx="70">
                  <c:v>432077</c:v>
                </c:pt>
                <c:pt idx="71">
                  <c:v>435282</c:v>
                </c:pt>
                <c:pt idx="72">
                  <c:v>463313</c:v>
                </c:pt>
                <c:pt idx="73">
                  <c:v>463628</c:v>
                </c:pt>
                <c:pt idx="74">
                  <c:v>516137</c:v>
                </c:pt>
                <c:pt idx="75">
                  <c:v>475229</c:v>
                </c:pt>
                <c:pt idx="76">
                  <c:v>506653</c:v>
                </c:pt>
                <c:pt idx="77">
                  <c:v>506991</c:v>
                </c:pt>
                <c:pt idx="78">
                  <c:v>576621</c:v>
                </c:pt>
                <c:pt idx="79">
                  <c:v>518608</c:v>
                </c:pt>
                <c:pt idx="80">
                  <c:v>518818</c:v>
                </c:pt>
                <c:pt idx="81">
                  <c:v>491940</c:v>
                </c:pt>
                <c:pt idx="82">
                  <c:v>517869</c:v>
                </c:pt>
                <c:pt idx="83">
                  <c:v>517959</c:v>
                </c:pt>
                <c:pt idx="84">
                  <c:v>506001</c:v>
                </c:pt>
                <c:pt idx="85">
                  <c:v>492155</c:v>
                </c:pt>
                <c:pt idx="86">
                  <c:v>493006</c:v>
                </c:pt>
                <c:pt idx="87">
                  <c:v>519348</c:v>
                </c:pt>
                <c:pt idx="88">
                  <c:v>476468</c:v>
                </c:pt>
                <c:pt idx="89">
                  <c:v>475275</c:v>
                </c:pt>
                <c:pt idx="90">
                  <c:v>471692</c:v>
                </c:pt>
                <c:pt idx="91">
                  <c:v>529604</c:v>
                </c:pt>
                <c:pt idx="92">
                  <c:v>461102</c:v>
                </c:pt>
                <c:pt idx="93">
                  <c:v>466185</c:v>
                </c:pt>
                <c:pt idx="94">
                  <c:v>453287</c:v>
                </c:pt>
                <c:pt idx="95">
                  <c:v>455487</c:v>
                </c:pt>
                <c:pt idx="96">
                  <c:v>468261</c:v>
                </c:pt>
                <c:pt idx="97">
                  <c:v>435154</c:v>
                </c:pt>
                <c:pt idx="98">
                  <c:v>445142</c:v>
                </c:pt>
                <c:pt idx="99">
                  <c:v>414394</c:v>
                </c:pt>
                <c:pt idx="100">
                  <c:v>455939</c:v>
                </c:pt>
                <c:pt idx="101">
                  <c:v>453081</c:v>
                </c:pt>
                <c:pt idx="102">
                  <c:v>476877</c:v>
                </c:pt>
                <c:pt idx="103">
                  <c:v>426965</c:v>
                </c:pt>
                <c:pt idx="104">
                  <c:v>429918</c:v>
                </c:pt>
                <c:pt idx="105">
                  <c:v>385333</c:v>
                </c:pt>
                <c:pt idx="106">
                  <c:v>402840</c:v>
                </c:pt>
                <c:pt idx="107">
                  <c:v>35755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36504</c:v>
                </c:pt>
                <c:pt idx="1">
                  <c:v>432937</c:v>
                </c:pt>
                <c:pt idx="2">
                  <c:v>426440</c:v>
                </c:pt>
                <c:pt idx="3">
                  <c:v>413891</c:v>
                </c:pt>
                <c:pt idx="4">
                  <c:v>433828</c:v>
                </c:pt>
                <c:pt idx="5">
                  <c:v>434669</c:v>
                </c:pt>
                <c:pt idx="6">
                  <c:v>425920</c:v>
                </c:pt>
                <c:pt idx="7">
                  <c:v>458355</c:v>
                </c:pt>
                <c:pt idx="8">
                  <c:v>478170</c:v>
                </c:pt>
                <c:pt idx="9">
                  <c:v>465692</c:v>
                </c:pt>
                <c:pt idx="10">
                  <c:v>445665</c:v>
                </c:pt>
                <c:pt idx="11">
                  <c:v>446407</c:v>
                </c:pt>
                <c:pt idx="12">
                  <c:v>444777</c:v>
                </c:pt>
                <c:pt idx="13">
                  <c:v>490954</c:v>
                </c:pt>
                <c:pt idx="14">
                  <c:v>442092</c:v>
                </c:pt>
                <c:pt idx="15">
                  <c:v>458862</c:v>
                </c:pt>
                <c:pt idx="16">
                  <c:v>446327</c:v>
                </c:pt>
                <c:pt idx="17">
                  <c:v>492335</c:v>
                </c:pt>
                <c:pt idx="18">
                  <c:v>463170</c:v>
                </c:pt>
                <c:pt idx="19">
                  <c:v>457104</c:v>
                </c:pt>
                <c:pt idx="20">
                  <c:v>470740</c:v>
                </c:pt>
                <c:pt idx="21">
                  <c:v>508934</c:v>
                </c:pt>
                <c:pt idx="22">
                  <c:v>530451</c:v>
                </c:pt>
                <c:pt idx="23">
                  <c:v>512899</c:v>
                </c:pt>
                <c:pt idx="24">
                  <c:v>498992</c:v>
                </c:pt>
                <c:pt idx="25">
                  <c:v>503027</c:v>
                </c:pt>
                <c:pt idx="26">
                  <c:v>521585</c:v>
                </c:pt>
                <c:pt idx="27">
                  <c:v>503334</c:v>
                </c:pt>
                <c:pt idx="28">
                  <c:v>509042</c:v>
                </c:pt>
                <c:pt idx="29">
                  <c:v>511402</c:v>
                </c:pt>
                <c:pt idx="30">
                  <c:v>549103</c:v>
                </c:pt>
                <c:pt idx="31">
                  <c:v>518490</c:v>
                </c:pt>
                <c:pt idx="32">
                  <c:v>514135</c:v>
                </c:pt>
                <c:pt idx="33">
                  <c:v>496223</c:v>
                </c:pt>
                <c:pt idx="34">
                  <c:v>502550</c:v>
                </c:pt>
                <c:pt idx="35">
                  <c:v>493606</c:v>
                </c:pt>
                <c:pt idx="36">
                  <c:v>480411</c:v>
                </c:pt>
                <c:pt idx="37">
                  <c:v>477315</c:v>
                </c:pt>
                <c:pt idx="38">
                  <c:v>471632</c:v>
                </c:pt>
                <c:pt idx="39">
                  <c:v>486468</c:v>
                </c:pt>
                <c:pt idx="40">
                  <c:v>457606</c:v>
                </c:pt>
                <c:pt idx="41">
                  <c:v>449294</c:v>
                </c:pt>
                <c:pt idx="42">
                  <c:v>441064</c:v>
                </c:pt>
                <c:pt idx="43">
                  <c:v>454072</c:v>
                </c:pt>
                <c:pt idx="44">
                  <c:v>460130</c:v>
                </c:pt>
                <c:pt idx="45">
                  <c:v>432721</c:v>
                </c:pt>
                <c:pt idx="46">
                  <c:v>408088</c:v>
                </c:pt>
                <c:pt idx="47">
                  <c:v>445972</c:v>
                </c:pt>
                <c:pt idx="48">
                  <c:v>470333</c:v>
                </c:pt>
                <c:pt idx="49">
                  <c:v>455913</c:v>
                </c:pt>
                <c:pt idx="50">
                  <c:v>505752</c:v>
                </c:pt>
                <c:pt idx="51">
                  <c:v>406940</c:v>
                </c:pt>
                <c:pt idx="52">
                  <c:v>450058</c:v>
                </c:pt>
                <c:pt idx="53">
                  <c:v>427666</c:v>
                </c:pt>
                <c:pt idx="54">
                  <c:v>418618</c:v>
                </c:pt>
                <c:pt idx="55">
                  <c:v>448617</c:v>
                </c:pt>
                <c:pt idx="56">
                  <c:v>471678</c:v>
                </c:pt>
                <c:pt idx="57">
                  <c:v>464113</c:v>
                </c:pt>
                <c:pt idx="58">
                  <c:v>455477</c:v>
                </c:pt>
                <c:pt idx="59">
                  <c:v>487585</c:v>
                </c:pt>
                <c:pt idx="60">
                  <c:v>495531</c:v>
                </c:pt>
                <c:pt idx="61">
                  <c:v>482610</c:v>
                </c:pt>
                <c:pt idx="62">
                  <c:v>474727</c:v>
                </c:pt>
                <c:pt idx="63">
                  <c:v>472479</c:v>
                </c:pt>
                <c:pt idx="64">
                  <c:v>487519</c:v>
                </c:pt>
                <c:pt idx="65">
                  <c:v>513458</c:v>
                </c:pt>
                <c:pt idx="66">
                  <c:v>471406</c:v>
                </c:pt>
                <c:pt idx="67">
                  <c:v>442137</c:v>
                </c:pt>
                <c:pt idx="68">
                  <c:v>390636</c:v>
                </c:pt>
                <c:pt idx="69">
                  <c:v>427726</c:v>
                </c:pt>
                <c:pt idx="70">
                  <c:v>484106</c:v>
                </c:pt>
                <c:pt idx="71">
                  <c:v>495350</c:v>
                </c:pt>
                <c:pt idx="72">
                  <c:v>525634</c:v>
                </c:pt>
                <c:pt idx="73">
                  <c:v>523454</c:v>
                </c:pt>
                <c:pt idx="74">
                  <c:v>578361</c:v>
                </c:pt>
                <c:pt idx="75">
                  <c:v>541830</c:v>
                </c:pt>
                <c:pt idx="76">
                  <c:v>544564</c:v>
                </c:pt>
                <c:pt idx="77">
                  <c:v>546371</c:v>
                </c:pt>
                <c:pt idx="78">
                  <c:v>598088</c:v>
                </c:pt>
                <c:pt idx="79">
                  <c:v>539071</c:v>
                </c:pt>
                <c:pt idx="80">
                  <c:v>535599</c:v>
                </c:pt>
                <c:pt idx="81">
                  <c:v>509049</c:v>
                </c:pt>
                <c:pt idx="82">
                  <c:v>529266</c:v>
                </c:pt>
                <c:pt idx="83">
                  <c:v>527208</c:v>
                </c:pt>
                <c:pt idx="84">
                  <c:v>535623</c:v>
                </c:pt>
                <c:pt idx="85">
                  <c:v>520079</c:v>
                </c:pt>
                <c:pt idx="86">
                  <c:v>517716</c:v>
                </c:pt>
                <c:pt idx="87">
                  <c:v>527799</c:v>
                </c:pt>
                <c:pt idx="88">
                  <c:v>486322</c:v>
                </c:pt>
                <c:pt idx="89">
                  <c:v>482084</c:v>
                </c:pt>
                <c:pt idx="90">
                  <c:v>477895</c:v>
                </c:pt>
                <c:pt idx="91">
                  <c:v>536269</c:v>
                </c:pt>
                <c:pt idx="92">
                  <c:v>470628</c:v>
                </c:pt>
                <c:pt idx="93">
                  <c:v>476714</c:v>
                </c:pt>
                <c:pt idx="94">
                  <c:v>467166</c:v>
                </c:pt>
                <c:pt idx="95">
                  <c:v>465442</c:v>
                </c:pt>
                <c:pt idx="96">
                  <c:v>476429</c:v>
                </c:pt>
                <c:pt idx="97">
                  <c:v>441035</c:v>
                </c:pt>
                <c:pt idx="98">
                  <c:v>447860</c:v>
                </c:pt>
                <c:pt idx="99">
                  <c:v>416084</c:v>
                </c:pt>
                <c:pt idx="100">
                  <c:v>458103</c:v>
                </c:pt>
                <c:pt idx="101">
                  <c:v>455590</c:v>
                </c:pt>
                <c:pt idx="102">
                  <c:v>479539</c:v>
                </c:pt>
                <c:pt idx="103">
                  <c:v>430820</c:v>
                </c:pt>
                <c:pt idx="104">
                  <c:v>431621</c:v>
                </c:pt>
                <c:pt idx="105">
                  <c:v>393680</c:v>
                </c:pt>
                <c:pt idx="106">
                  <c:v>422256</c:v>
                </c:pt>
                <c:pt idx="107">
                  <c:v>37862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18160</c:v>
                </c:pt>
                <c:pt idx="1">
                  <c:v>421093</c:v>
                </c:pt>
                <c:pt idx="2">
                  <c:v>423570</c:v>
                </c:pt>
                <c:pt idx="3">
                  <c:v>423896</c:v>
                </c:pt>
                <c:pt idx="4">
                  <c:v>428215</c:v>
                </c:pt>
                <c:pt idx="5">
                  <c:v>435507</c:v>
                </c:pt>
                <c:pt idx="6">
                  <c:v>441012</c:v>
                </c:pt>
                <c:pt idx="7">
                  <c:v>444210</c:v>
                </c:pt>
                <c:pt idx="8">
                  <c:v>448550</c:v>
                </c:pt>
                <c:pt idx="9">
                  <c:v>449995</c:v>
                </c:pt>
                <c:pt idx="10">
                  <c:v>456987</c:v>
                </c:pt>
                <c:pt idx="11">
                  <c:v>459041</c:v>
                </c:pt>
                <c:pt idx="12">
                  <c:v>459181</c:v>
                </c:pt>
                <c:pt idx="13">
                  <c:v>455171</c:v>
                </c:pt>
                <c:pt idx="14">
                  <c:v>458488</c:v>
                </c:pt>
                <c:pt idx="15">
                  <c:v>460670</c:v>
                </c:pt>
                <c:pt idx="16">
                  <c:v>462003</c:v>
                </c:pt>
                <c:pt idx="17">
                  <c:v>465249</c:v>
                </c:pt>
                <c:pt idx="18">
                  <c:v>467479</c:v>
                </c:pt>
                <c:pt idx="19">
                  <c:v>478518</c:v>
                </c:pt>
                <c:pt idx="20">
                  <c:v>485274</c:v>
                </c:pt>
                <c:pt idx="21">
                  <c:v>491853</c:v>
                </c:pt>
                <c:pt idx="22">
                  <c:v>493209</c:v>
                </c:pt>
                <c:pt idx="23">
                  <c:v>498400</c:v>
                </c:pt>
                <c:pt idx="24">
                  <c:v>499293</c:v>
                </c:pt>
                <c:pt idx="25">
                  <c:v>499081</c:v>
                </c:pt>
                <c:pt idx="26">
                  <c:v>511717</c:v>
                </c:pt>
                <c:pt idx="27">
                  <c:v>531301</c:v>
                </c:pt>
                <c:pt idx="28">
                  <c:v>527522</c:v>
                </c:pt>
                <c:pt idx="29">
                  <c:v>524321</c:v>
                </c:pt>
                <c:pt idx="30">
                  <c:v>518544</c:v>
                </c:pt>
                <c:pt idx="31">
                  <c:v>513254</c:v>
                </c:pt>
                <c:pt idx="32">
                  <c:v>511904</c:v>
                </c:pt>
                <c:pt idx="33">
                  <c:v>508326</c:v>
                </c:pt>
                <c:pt idx="34">
                  <c:v>504024</c:v>
                </c:pt>
                <c:pt idx="35">
                  <c:v>494290</c:v>
                </c:pt>
                <c:pt idx="36">
                  <c:v>490213</c:v>
                </c:pt>
                <c:pt idx="37">
                  <c:v>483323</c:v>
                </c:pt>
                <c:pt idx="38">
                  <c:v>477603</c:v>
                </c:pt>
                <c:pt idx="39">
                  <c:v>469865</c:v>
                </c:pt>
                <c:pt idx="40">
                  <c:v>464881</c:v>
                </c:pt>
                <c:pt idx="41">
                  <c:v>462298</c:v>
                </c:pt>
                <c:pt idx="42">
                  <c:v>456707</c:v>
                </c:pt>
                <c:pt idx="43">
                  <c:v>448757</c:v>
                </c:pt>
                <c:pt idx="44">
                  <c:v>443735</c:v>
                </c:pt>
                <c:pt idx="45">
                  <c:v>445314</c:v>
                </c:pt>
                <c:pt idx="46">
                  <c:v>446248</c:v>
                </c:pt>
                <c:pt idx="47">
                  <c:v>454543</c:v>
                </c:pt>
                <c:pt idx="48">
                  <c:v>448749</c:v>
                </c:pt>
                <c:pt idx="49">
                  <c:v>448093</c:v>
                </c:pt>
                <c:pt idx="50">
                  <c:v>452076</c:v>
                </c:pt>
                <c:pt idx="51">
                  <c:v>449124</c:v>
                </c:pt>
                <c:pt idx="52">
                  <c:v>449979</c:v>
                </c:pt>
                <c:pt idx="53">
                  <c:v>457554</c:v>
                </c:pt>
                <c:pt idx="54">
                  <c:v>453513</c:v>
                </c:pt>
                <c:pt idx="55">
                  <c:v>448610</c:v>
                </c:pt>
                <c:pt idx="56">
                  <c:v>460850</c:v>
                </c:pt>
                <c:pt idx="57">
                  <c:v>468918</c:v>
                </c:pt>
                <c:pt idx="58">
                  <c:v>476068</c:v>
                </c:pt>
                <c:pt idx="59">
                  <c:v>483454</c:v>
                </c:pt>
                <c:pt idx="60">
                  <c:v>486541</c:v>
                </c:pt>
                <c:pt idx="61">
                  <c:v>488668</c:v>
                </c:pt>
                <c:pt idx="62">
                  <c:v>494339</c:v>
                </c:pt>
                <c:pt idx="63">
                  <c:v>490300</c:v>
                </c:pt>
                <c:pt idx="64">
                  <c:v>478542</c:v>
                </c:pt>
                <c:pt idx="65">
                  <c:v>465192</c:v>
                </c:pt>
                <c:pt idx="66">
                  <c:v>457183</c:v>
                </c:pt>
                <c:pt idx="67">
                  <c:v>457553</c:v>
                </c:pt>
                <c:pt idx="68">
                  <c:v>460037</c:v>
                </c:pt>
                <c:pt idx="69">
                  <c:v>464273</c:v>
                </c:pt>
                <c:pt idx="70">
                  <c:v>465499</c:v>
                </c:pt>
                <c:pt idx="71">
                  <c:v>478079</c:v>
                </c:pt>
                <c:pt idx="72">
                  <c:v>490227</c:v>
                </c:pt>
                <c:pt idx="73">
                  <c:v>509975</c:v>
                </c:pt>
                <c:pt idx="74">
                  <c:v>534367</c:v>
                </c:pt>
                <c:pt idx="75">
                  <c:v>548649</c:v>
                </c:pt>
                <c:pt idx="76">
                  <c:v>551884</c:v>
                </c:pt>
                <c:pt idx="77">
                  <c:v>550358</c:v>
                </c:pt>
                <c:pt idx="78">
                  <c:v>549328</c:v>
                </c:pt>
                <c:pt idx="79">
                  <c:v>543764</c:v>
                </c:pt>
                <c:pt idx="80">
                  <c:v>541937</c:v>
                </c:pt>
                <c:pt idx="81">
                  <c:v>540569</c:v>
                </c:pt>
                <c:pt idx="82">
                  <c:v>537228</c:v>
                </c:pt>
                <c:pt idx="83">
                  <c:v>527147</c:v>
                </c:pt>
                <c:pt idx="84">
                  <c:v>525680</c:v>
                </c:pt>
                <c:pt idx="85">
                  <c:v>519573</c:v>
                </c:pt>
                <c:pt idx="86">
                  <c:v>516216</c:v>
                </c:pt>
                <c:pt idx="87">
                  <c:v>509770</c:v>
                </c:pt>
                <c:pt idx="88">
                  <c:v>510980</c:v>
                </c:pt>
                <c:pt idx="89">
                  <c:v>502837</c:v>
                </c:pt>
                <c:pt idx="90">
                  <c:v>497371</c:v>
                </c:pt>
                <c:pt idx="91">
                  <c:v>491044</c:v>
                </c:pt>
                <c:pt idx="92">
                  <c:v>483293</c:v>
                </c:pt>
                <c:pt idx="93">
                  <c:v>482034</c:v>
                </c:pt>
                <c:pt idx="94">
                  <c:v>476860</c:v>
                </c:pt>
                <c:pt idx="95">
                  <c:v>472976</c:v>
                </c:pt>
                <c:pt idx="96">
                  <c:v>457939</c:v>
                </c:pt>
                <c:pt idx="97">
                  <c:v>456362</c:v>
                </c:pt>
                <c:pt idx="98">
                  <c:v>453733</c:v>
                </c:pt>
                <c:pt idx="99">
                  <c:v>455289</c:v>
                </c:pt>
                <c:pt idx="100">
                  <c:v>450962</c:v>
                </c:pt>
                <c:pt idx="101">
                  <c:v>445356</c:v>
                </c:pt>
                <c:pt idx="102">
                  <c:v>439419</c:v>
                </c:pt>
                <c:pt idx="103">
                  <c:v>436189</c:v>
                </c:pt>
                <c:pt idx="104">
                  <c:v>431503</c:v>
                </c:pt>
                <c:pt idx="105">
                  <c:v>422470</c:v>
                </c:pt>
                <c:pt idx="106">
                  <c:v>417990</c:v>
                </c:pt>
                <c:pt idx="107">
                  <c:v>40677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2</c:v>
                </c:pt>
                <c:pt idx="1">
                  <c:v>0.02</c:v>
                </c:pt>
                <c:pt idx="2">
                  <c:v>0.01</c:v>
                </c:pt>
                <c:pt idx="3">
                  <c:v>0.01</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c:v>
                </c:pt>
                <c:pt idx="23">
                  <c:v>0</c:v>
                </c:pt>
                <c:pt idx="24">
                  <c:v>0.01</c:v>
                </c:pt>
                <c:pt idx="25">
                  <c:v>0</c:v>
                </c:pt>
                <c:pt idx="26">
                  <c:v>0</c:v>
                </c:pt>
                <c:pt idx="27">
                  <c:v>0</c:v>
                </c:pt>
                <c:pt idx="28">
                  <c:v>0.01</c:v>
                </c:pt>
                <c:pt idx="29">
                  <c:v>0.01</c:v>
                </c:pt>
                <c:pt idx="30">
                  <c:v>0.01</c:v>
                </c:pt>
                <c:pt idx="31">
                  <c:v>0.01</c:v>
                </c:pt>
                <c:pt idx="32">
                  <c:v>0.01</c:v>
                </c:pt>
                <c:pt idx="33">
                  <c:v>0.01</c:v>
                </c:pt>
                <c:pt idx="34">
                  <c:v>0.01</c:v>
                </c:pt>
                <c:pt idx="35">
                  <c:v>0.01</c:v>
                </c:pt>
                <c:pt idx="36">
                  <c:v>0.01</c:v>
                </c:pt>
                <c:pt idx="37">
                  <c:v>0.02</c:v>
                </c:pt>
                <c:pt idx="38">
                  <c:v>0.02</c:v>
                </c:pt>
                <c:pt idx="39">
                  <c:v>0.01</c:v>
                </c:pt>
                <c:pt idx="40">
                  <c:v>0.01</c:v>
                </c:pt>
                <c:pt idx="41">
                  <c:v>0.01</c:v>
                </c:pt>
                <c:pt idx="42">
                  <c:v>0.01</c:v>
                </c:pt>
                <c:pt idx="43">
                  <c:v>0.01</c:v>
                </c:pt>
                <c:pt idx="44">
                  <c:v>0.01</c:v>
                </c:pt>
                <c:pt idx="45">
                  <c:v>0.01</c:v>
                </c:pt>
                <c:pt idx="46">
                  <c:v>0</c:v>
                </c:pt>
                <c:pt idx="47">
                  <c:v>0</c:v>
                </c:pt>
                <c:pt idx="48">
                  <c:v>0</c:v>
                </c:pt>
                <c:pt idx="49">
                  <c:v>0.01</c:v>
                </c:pt>
                <c:pt idx="50">
                  <c:v>0.01</c:v>
                </c:pt>
                <c:pt idx="51">
                  <c:v>0.01</c:v>
                </c:pt>
                <c:pt idx="52">
                  <c:v>0.02</c:v>
                </c:pt>
                <c:pt idx="53">
                  <c:v>0.05</c:v>
                </c:pt>
                <c:pt idx="54">
                  <c:v>0.04</c:v>
                </c:pt>
                <c:pt idx="55">
                  <c:v>0.04</c:v>
                </c:pt>
                <c:pt idx="56">
                  <c:v>0.04</c:v>
                </c:pt>
                <c:pt idx="57">
                  <c:v>0.05</c:v>
                </c:pt>
                <c:pt idx="58">
                  <c:v>0.05</c:v>
                </c:pt>
                <c:pt idx="59">
                  <c:v>0.03</c:v>
                </c:pt>
                <c:pt idx="60">
                  <c:v>0.01</c:v>
                </c:pt>
                <c:pt idx="61">
                  <c:v>0</c:v>
                </c:pt>
                <c:pt idx="62">
                  <c:v>0</c:v>
                </c:pt>
                <c:pt idx="63">
                  <c:v>0.01</c:v>
                </c:pt>
                <c:pt idx="64">
                  <c:v>0.01</c:v>
                </c:pt>
                <c:pt idx="65">
                  <c:v>0.11</c:v>
                </c:pt>
                <c:pt idx="66">
                  <c:v>0.19</c:v>
                </c:pt>
                <c:pt idx="67">
                  <c:v>0.2</c:v>
                </c:pt>
                <c:pt idx="68">
                  <c:v>0.2</c:v>
                </c:pt>
                <c:pt idx="69">
                  <c:v>0.21</c:v>
                </c:pt>
                <c:pt idx="70">
                  <c:v>0.21</c:v>
                </c:pt>
                <c:pt idx="71">
                  <c:v>0.21</c:v>
                </c:pt>
                <c:pt idx="72">
                  <c:v>0.21</c:v>
                </c:pt>
                <c:pt idx="73">
                  <c:v>0.21</c:v>
                </c:pt>
                <c:pt idx="74">
                  <c:v>0.21</c:v>
                </c:pt>
                <c:pt idx="75">
                  <c:v>0.21</c:v>
                </c:pt>
                <c:pt idx="76">
                  <c:v>0.18</c:v>
                </c:pt>
                <c:pt idx="77">
                  <c:v>0.03</c:v>
                </c:pt>
                <c:pt idx="78">
                  <c:v>0.02</c:v>
                </c:pt>
                <c:pt idx="79">
                  <c:v>0.02</c:v>
                </c:pt>
                <c:pt idx="80">
                  <c:v>0.02</c:v>
                </c:pt>
                <c:pt idx="81">
                  <c:v>0.01</c:v>
                </c:pt>
                <c:pt idx="82">
                  <c:v>0.01</c:v>
                </c:pt>
                <c:pt idx="83">
                  <c:v>0.01</c:v>
                </c:pt>
                <c:pt idx="84">
                  <c:v>0.02</c:v>
                </c:pt>
                <c:pt idx="85">
                  <c:v>0.02</c:v>
                </c:pt>
                <c:pt idx="86">
                  <c:v>0.02</c:v>
                </c:pt>
                <c:pt idx="87">
                  <c:v>0.01</c:v>
                </c:pt>
                <c:pt idx="88">
                  <c:v>0.01</c:v>
                </c:pt>
                <c:pt idx="89">
                  <c:v>0.01</c:v>
                </c:pt>
                <c:pt idx="90">
                  <c:v>0.01</c:v>
                </c:pt>
                <c:pt idx="91">
                  <c:v>0.01</c:v>
                </c:pt>
                <c:pt idx="92">
                  <c:v>0.01</c:v>
                </c:pt>
                <c:pt idx="93">
                  <c:v>0.02</c:v>
                </c:pt>
                <c:pt idx="94">
                  <c:v>0.02</c:v>
                </c:pt>
                <c:pt idx="95">
                  <c:v>0.01</c:v>
                </c:pt>
                <c:pt idx="96">
                  <c:v>0.01</c:v>
                </c:pt>
                <c:pt idx="97">
                  <c:v>0.01</c:v>
                </c:pt>
                <c:pt idx="98">
                  <c:v>0.01</c:v>
                </c:pt>
                <c:pt idx="99">
                  <c:v>0.01</c:v>
                </c:pt>
                <c:pt idx="100">
                  <c:v>0.01</c:v>
                </c:pt>
                <c:pt idx="101">
                  <c:v>0.01</c:v>
                </c:pt>
                <c:pt idx="102">
                  <c:v>0.01</c:v>
                </c:pt>
                <c:pt idx="103">
                  <c:v>0.01</c:v>
                </c:pt>
                <c:pt idx="104">
                  <c:v>0.01</c:v>
                </c:pt>
                <c:pt idx="105">
                  <c:v>0.01</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56</c:v>
                </c:pt>
                <c:pt idx="1">
                  <c:v>5</c:v>
                </c:pt>
                <c:pt idx="2">
                  <c:v>96</c:v>
                </c:pt>
                <c:pt idx="3">
                  <c:v>46</c:v>
                </c:pt>
                <c:pt idx="4">
                  <c:v>36</c:v>
                </c:pt>
                <c:pt idx="5">
                  <c:v>59</c:v>
                </c:pt>
                <c:pt idx="6">
                  <c:v>12</c:v>
                </c:pt>
                <c:pt idx="7">
                  <c:v>46</c:v>
                </c:pt>
                <c:pt idx="8">
                  <c:v>5</c:v>
                </c:pt>
                <c:pt idx="9">
                  <c:v>4</c:v>
                </c:pt>
                <c:pt idx="10">
                  <c:v>10</c:v>
                </c:pt>
                <c:pt idx="11">
                  <c:v>103</c:v>
                </c:pt>
                <c:pt idx="12">
                  <c:v>33</c:v>
                </c:pt>
                <c:pt idx="13">
                  <c:v>44</c:v>
                </c:pt>
                <c:pt idx="14">
                  <c:v>2360</c:v>
                </c:pt>
                <c:pt idx="15">
                  <c:v>1769</c:v>
                </c:pt>
                <c:pt idx="16">
                  <c:v>911</c:v>
                </c:pt>
                <c:pt idx="17">
                  <c:v>471</c:v>
                </c:pt>
                <c:pt idx="18">
                  <c:v>417</c:v>
                </c:pt>
                <c:pt idx="19">
                  <c:v>295</c:v>
                </c:pt>
                <c:pt idx="20">
                  <c:v>304</c:v>
                </c:pt>
                <c:pt idx="21">
                  <c:v>194</c:v>
                </c:pt>
                <c:pt idx="22">
                  <c:v>350</c:v>
                </c:pt>
                <c:pt idx="23">
                  <c:v>125</c:v>
                </c:pt>
                <c:pt idx="24">
                  <c:v>252</c:v>
                </c:pt>
                <c:pt idx="25">
                  <c:v>334</c:v>
                </c:pt>
                <c:pt idx="26">
                  <c:v>594</c:v>
                </c:pt>
                <c:pt idx="27">
                  <c:v>360</c:v>
                </c:pt>
                <c:pt idx="28">
                  <c:v>310</c:v>
                </c:pt>
                <c:pt idx="29">
                  <c:v>398</c:v>
                </c:pt>
                <c:pt idx="30">
                  <c:v>299</c:v>
                </c:pt>
                <c:pt idx="31">
                  <c:v>365</c:v>
                </c:pt>
                <c:pt idx="32">
                  <c:v>420</c:v>
                </c:pt>
                <c:pt idx="33">
                  <c:v>519</c:v>
                </c:pt>
                <c:pt idx="34">
                  <c:v>560</c:v>
                </c:pt>
                <c:pt idx="35">
                  <c:v>261</c:v>
                </c:pt>
                <c:pt idx="36">
                  <c:v>511</c:v>
                </c:pt>
                <c:pt idx="37">
                  <c:v>360</c:v>
                </c:pt>
                <c:pt idx="38">
                  <c:v>393</c:v>
                </c:pt>
                <c:pt idx="39">
                  <c:v>721</c:v>
                </c:pt>
                <c:pt idx="40">
                  <c:v>944</c:v>
                </c:pt>
                <c:pt idx="41">
                  <c:v>735</c:v>
                </c:pt>
                <c:pt idx="42">
                  <c:v>982</c:v>
                </c:pt>
                <c:pt idx="43">
                  <c:v>946</c:v>
                </c:pt>
                <c:pt idx="44">
                  <c:v>718</c:v>
                </c:pt>
                <c:pt idx="45">
                  <c:v>1020</c:v>
                </c:pt>
                <c:pt idx="46">
                  <c:v>1192</c:v>
                </c:pt>
                <c:pt idx="47">
                  <c:v>979</c:v>
                </c:pt>
                <c:pt idx="48">
                  <c:v>1079</c:v>
                </c:pt>
                <c:pt idx="49">
                  <c:v>947</c:v>
                </c:pt>
                <c:pt idx="50">
                  <c:v>1150</c:v>
                </c:pt>
                <c:pt idx="51">
                  <c:v>1036</c:v>
                </c:pt>
                <c:pt idx="52">
                  <c:v>782</c:v>
                </c:pt>
                <c:pt idx="53">
                  <c:v>1272</c:v>
                </c:pt>
                <c:pt idx="54">
                  <c:v>827</c:v>
                </c:pt>
                <c:pt idx="55">
                  <c:v>833</c:v>
                </c:pt>
                <c:pt idx="56">
                  <c:v>942</c:v>
                </c:pt>
                <c:pt idx="57">
                  <c:v>1191</c:v>
                </c:pt>
                <c:pt idx="58">
                  <c:v>804</c:v>
                </c:pt>
                <c:pt idx="59">
                  <c:v>1074</c:v>
                </c:pt>
                <c:pt idx="60">
                  <c:v>1107</c:v>
                </c:pt>
                <c:pt idx="61">
                  <c:v>1181</c:v>
                </c:pt>
                <c:pt idx="62">
                  <c:v>1210</c:v>
                </c:pt>
                <c:pt idx="63">
                  <c:v>684</c:v>
                </c:pt>
                <c:pt idx="64">
                  <c:v>813</c:v>
                </c:pt>
                <c:pt idx="65">
                  <c:v>821</c:v>
                </c:pt>
                <c:pt idx="66">
                  <c:v>668</c:v>
                </c:pt>
                <c:pt idx="67">
                  <c:v>1049</c:v>
                </c:pt>
                <c:pt idx="68">
                  <c:v>1053</c:v>
                </c:pt>
                <c:pt idx="69">
                  <c:v>915</c:v>
                </c:pt>
                <c:pt idx="70">
                  <c:v>940</c:v>
                </c:pt>
                <c:pt idx="71">
                  <c:v>906</c:v>
                </c:pt>
                <c:pt idx="72">
                  <c:v>882</c:v>
                </c:pt>
                <c:pt idx="73">
                  <c:v>795</c:v>
                </c:pt>
                <c:pt idx="74">
                  <c:v>671</c:v>
                </c:pt>
                <c:pt idx="75">
                  <c:v>711</c:v>
                </c:pt>
                <c:pt idx="76">
                  <c:v>992</c:v>
                </c:pt>
                <c:pt idx="77">
                  <c:v>615</c:v>
                </c:pt>
                <c:pt idx="78">
                  <c:v>689</c:v>
                </c:pt>
                <c:pt idx="79">
                  <c:v>347</c:v>
                </c:pt>
                <c:pt idx="80">
                  <c:v>411</c:v>
                </c:pt>
                <c:pt idx="81">
                  <c:v>516</c:v>
                </c:pt>
                <c:pt idx="82">
                  <c:v>719</c:v>
                </c:pt>
                <c:pt idx="83">
                  <c:v>588</c:v>
                </c:pt>
                <c:pt idx="84">
                  <c:v>581</c:v>
                </c:pt>
                <c:pt idx="85">
                  <c:v>491</c:v>
                </c:pt>
                <c:pt idx="86">
                  <c:v>499</c:v>
                </c:pt>
                <c:pt idx="87">
                  <c:v>759</c:v>
                </c:pt>
                <c:pt idx="88">
                  <c:v>686</c:v>
                </c:pt>
                <c:pt idx="89">
                  <c:v>656</c:v>
                </c:pt>
                <c:pt idx="90">
                  <c:v>1128</c:v>
                </c:pt>
                <c:pt idx="91">
                  <c:v>924</c:v>
                </c:pt>
                <c:pt idx="92">
                  <c:v>795</c:v>
                </c:pt>
                <c:pt idx="93">
                  <c:v>674</c:v>
                </c:pt>
                <c:pt idx="94">
                  <c:v>610</c:v>
                </c:pt>
                <c:pt idx="95">
                  <c:v>505</c:v>
                </c:pt>
                <c:pt idx="96">
                  <c:v>718</c:v>
                </c:pt>
                <c:pt idx="97">
                  <c:v>681</c:v>
                </c:pt>
                <c:pt idx="98">
                  <c:v>794</c:v>
                </c:pt>
                <c:pt idx="99">
                  <c:v>727</c:v>
                </c:pt>
                <c:pt idx="100">
                  <c:v>711</c:v>
                </c:pt>
                <c:pt idx="101">
                  <c:v>713</c:v>
                </c:pt>
                <c:pt idx="102">
                  <c:v>822</c:v>
                </c:pt>
                <c:pt idx="103">
                  <c:v>809</c:v>
                </c:pt>
                <c:pt idx="104">
                  <c:v>756</c:v>
                </c:pt>
                <c:pt idx="105">
                  <c:v>910</c:v>
                </c:pt>
                <c:pt idx="106">
                  <c:v>645</c:v>
                </c:pt>
                <c:pt idx="107">
                  <c:v>8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1908</c:v>
                </c:pt>
                <c:pt idx="1">
                  <c:v>45471</c:v>
                </c:pt>
                <c:pt idx="2">
                  <c:v>50625</c:v>
                </c:pt>
                <c:pt idx="3">
                  <c:v>52893</c:v>
                </c:pt>
                <c:pt idx="4">
                  <c:v>56592</c:v>
                </c:pt>
                <c:pt idx="5">
                  <c:v>51988</c:v>
                </c:pt>
                <c:pt idx="6">
                  <c:v>43663</c:v>
                </c:pt>
                <c:pt idx="7">
                  <c:v>33763</c:v>
                </c:pt>
                <c:pt idx="8">
                  <c:v>31184</c:v>
                </c:pt>
                <c:pt idx="9">
                  <c:v>31263</c:v>
                </c:pt>
                <c:pt idx="10">
                  <c:v>20146</c:v>
                </c:pt>
                <c:pt idx="11">
                  <c:v>14242</c:v>
                </c:pt>
                <c:pt idx="12">
                  <c:v>8795</c:v>
                </c:pt>
                <c:pt idx="13">
                  <c:v>6046</c:v>
                </c:pt>
                <c:pt idx="14">
                  <c:v>10459</c:v>
                </c:pt>
                <c:pt idx="15">
                  <c:v>35880</c:v>
                </c:pt>
                <c:pt idx="16">
                  <c:v>58406</c:v>
                </c:pt>
                <c:pt idx="17">
                  <c:v>67405</c:v>
                </c:pt>
                <c:pt idx="18">
                  <c:v>66708</c:v>
                </c:pt>
                <c:pt idx="19">
                  <c:v>66172</c:v>
                </c:pt>
                <c:pt idx="20">
                  <c:v>67913</c:v>
                </c:pt>
                <c:pt idx="21">
                  <c:v>72245</c:v>
                </c:pt>
                <c:pt idx="22">
                  <c:v>72407</c:v>
                </c:pt>
                <c:pt idx="23">
                  <c:v>70766</c:v>
                </c:pt>
                <c:pt idx="24">
                  <c:v>68862</c:v>
                </c:pt>
                <c:pt idx="25">
                  <c:v>70853</c:v>
                </c:pt>
                <c:pt idx="26">
                  <c:v>75298</c:v>
                </c:pt>
                <c:pt idx="27">
                  <c:v>71604</c:v>
                </c:pt>
                <c:pt idx="28">
                  <c:v>69079</c:v>
                </c:pt>
                <c:pt idx="29">
                  <c:v>64292</c:v>
                </c:pt>
                <c:pt idx="30">
                  <c:v>71803</c:v>
                </c:pt>
                <c:pt idx="31">
                  <c:v>66376</c:v>
                </c:pt>
                <c:pt idx="32">
                  <c:v>67920</c:v>
                </c:pt>
                <c:pt idx="33">
                  <c:v>65351</c:v>
                </c:pt>
                <c:pt idx="34">
                  <c:v>62905</c:v>
                </c:pt>
                <c:pt idx="35">
                  <c:v>63342</c:v>
                </c:pt>
                <c:pt idx="36">
                  <c:v>57846</c:v>
                </c:pt>
                <c:pt idx="37">
                  <c:v>57917</c:v>
                </c:pt>
                <c:pt idx="38">
                  <c:v>57144</c:v>
                </c:pt>
                <c:pt idx="39">
                  <c:v>59221</c:v>
                </c:pt>
                <c:pt idx="40">
                  <c:v>55128</c:v>
                </c:pt>
                <c:pt idx="41">
                  <c:v>53475</c:v>
                </c:pt>
                <c:pt idx="42">
                  <c:v>54264</c:v>
                </c:pt>
                <c:pt idx="43">
                  <c:v>55747</c:v>
                </c:pt>
                <c:pt idx="44">
                  <c:v>56833</c:v>
                </c:pt>
                <c:pt idx="45">
                  <c:v>53291</c:v>
                </c:pt>
                <c:pt idx="46">
                  <c:v>50052</c:v>
                </c:pt>
                <c:pt idx="47">
                  <c:v>52073</c:v>
                </c:pt>
                <c:pt idx="48">
                  <c:v>56550</c:v>
                </c:pt>
                <c:pt idx="49">
                  <c:v>54284</c:v>
                </c:pt>
                <c:pt idx="50">
                  <c:v>64641</c:v>
                </c:pt>
                <c:pt idx="51">
                  <c:v>52471</c:v>
                </c:pt>
                <c:pt idx="52">
                  <c:v>55909</c:v>
                </c:pt>
                <c:pt idx="53">
                  <c:v>51274</c:v>
                </c:pt>
                <c:pt idx="54">
                  <c:v>45383</c:v>
                </c:pt>
                <c:pt idx="55">
                  <c:v>49438</c:v>
                </c:pt>
                <c:pt idx="56">
                  <c:v>51562</c:v>
                </c:pt>
                <c:pt idx="57">
                  <c:v>49907</c:v>
                </c:pt>
                <c:pt idx="58">
                  <c:v>49182</c:v>
                </c:pt>
                <c:pt idx="59">
                  <c:v>51288</c:v>
                </c:pt>
                <c:pt idx="60">
                  <c:v>52762</c:v>
                </c:pt>
                <c:pt idx="61">
                  <c:v>53029</c:v>
                </c:pt>
                <c:pt idx="62">
                  <c:v>48994</c:v>
                </c:pt>
                <c:pt idx="63">
                  <c:v>48103</c:v>
                </c:pt>
                <c:pt idx="64">
                  <c:v>50638</c:v>
                </c:pt>
                <c:pt idx="65">
                  <c:v>50708</c:v>
                </c:pt>
                <c:pt idx="66">
                  <c:v>49969</c:v>
                </c:pt>
                <c:pt idx="67">
                  <c:v>50185</c:v>
                </c:pt>
                <c:pt idx="68">
                  <c:v>49244</c:v>
                </c:pt>
                <c:pt idx="69">
                  <c:v>53964</c:v>
                </c:pt>
                <c:pt idx="70">
                  <c:v>50859</c:v>
                </c:pt>
                <c:pt idx="71">
                  <c:v>47663</c:v>
                </c:pt>
                <c:pt idx="72">
                  <c:v>49953</c:v>
                </c:pt>
                <c:pt idx="73">
                  <c:v>51456</c:v>
                </c:pt>
                <c:pt idx="74">
                  <c:v>55433</c:v>
                </c:pt>
                <c:pt idx="75">
                  <c:v>51816</c:v>
                </c:pt>
                <c:pt idx="76">
                  <c:v>48304</c:v>
                </c:pt>
                <c:pt idx="77">
                  <c:v>36684</c:v>
                </c:pt>
                <c:pt idx="78">
                  <c:v>29614</c:v>
                </c:pt>
                <c:pt idx="79">
                  <c:v>17979</c:v>
                </c:pt>
                <c:pt idx="80">
                  <c:v>14666</c:v>
                </c:pt>
                <c:pt idx="81">
                  <c:v>28271</c:v>
                </c:pt>
                <c:pt idx="82">
                  <c:v>44700</c:v>
                </c:pt>
                <c:pt idx="83">
                  <c:v>46668</c:v>
                </c:pt>
                <c:pt idx="84">
                  <c:v>49397</c:v>
                </c:pt>
                <c:pt idx="85">
                  <c:v>49492</c:v>
                </c:pt>
                <c:pt idx="86">
                  <c:v>50571</c:v>
                </c:pt>
                <c:pt idx="87">
                  <c:v>49417</c:v>
                </c:pt>
                <c:pt idx="88">
                  <c:v>46847</c:v>
                </c:pt>
                <c:pt idx="89">
                  <c:v>45770</c:v>
                </c:pt>
                <c:pt idx="90">
                  <c:v>44059</c:v>
                </c:pt>
                <c:pt idx="91">
                  <c:v>48449</c:v>
                </c:pt>
                <c:pt idx="92">
                  <c:v>43633</c:v>
                </c:pt>
                <c:pt idx="93">
                  <c:v>45171</c:v>
                </c:pt>
                <c:pt idx="94">
                  <c:v>42876</c:v>
                </c:pt>
                <c:pt idx="95">
                  <c:v>43349</c:v>
                </c:pt>
                <c:pt idx="96">
                  <c:v>45852</c:v>
                </c:pt>
                <c:pt idx="97">
                  <c:v>42538</c:v>
                </c:pt>
                <c:pt idx="98">
                  <c:v>41303</c:v>
                </c:pt>
                <c:pt idx="99">
                  <c:v>39282</c:v>
                </c:pt>
                <c:pt idx="100">
                  <c:v>43048</c:v>
                </c:pt>
                <c:pt idx="101">
                  <c:v>42622</c:v>
                </c:pt>
                <c:pt idx="102">
                  <c:v>44727</c:v>
                </c:pt>
                <c:pt idx="103">
                  <c:v>46792</c:v>
                </c:pt>
                <c:pt idx="104">
                  <c:v>43285</c:v>
                </c:pt>
                <c:pt idx="105">
                  <c:v>40434</c:v>
                </c:pt>
                <c:pt idx="106">
                  <c:v>45877</c:v>
                </c:pt>
                <c:pt idx="107">
                  <c:v>433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41964</c:v>
                </c:pt>
                <c:pt idx="1">
                  <c:v>45476</c:v>
                </c:pt>
                <c:pt idx="2">
                  <c:v>50721</c:v>
                </c:pt>
                <c:pt idx="3">
                  <c:v>52939</c:v>
                </c:pt>
                <c:pt idx="4">
                  <c:v>56628</c:v>
                </c:pt>
                <c:pt idx="5">
                  <c:v>52047</c:v>
                </c:pt>
                <c:pt idx="6">
                  <c:v>43675</c:v>
                </c:pt>
                <c:pt idx="7">
                  <c:v>33809</c:v>
                </c:pt>
                <c:pt idx="8">
                  <c:v>31189</c:v>
                </c:pt>
                <c:pt idx="9">
                  <c:v>31267</c:v>
                </c:pt>
                <c:pt idx="10">
                  <c:v>20156</c:v>
                </c:pt>
                <c:pt idx="11">
                  <c:v>14345</c:v>
                </c:pt>
                <c:pt idx="12">
                  <c:v>8828</c:v>
                </c:pt>
                <c:pt idx="13">
                  <c:v>6090</c:v>
                </c:pt>
                <c:pt idx="14">
                  <c:v>12819</c:v>
                </c:pt>
                <c:pt idx="15">
                  <c:v>37649</c:v>
                </c:pt>
                <c:pt idx="16">
                  <c:v>59317</c:v>
                </c:pt>
                <c:pt idx="17">
                  <c:v>67876</c:v>
                </c:pt>
                <c:pt idx="18">
                  <c:v>67125</c:v>
                </c:pt>
                <c:pt idx="19">
                  <c:v>66467</c:v>
                </c:pt>
                <c:pt idx="20">
                  <c:v>68217</c:v>
                </c:pt>
                <c:pt idx="21">
                  <c:v>72439</c:v>
                </c:pt>
                <c:pt idx="22">
                  <c:v>72757</c:v>
                </c:pt>
                <c:pt idx="23">
                  <c:v>70891</c:v>
                </c:pt>
                <c:pt idx="24">
                  <c:v>69114</c:v>
                </c:pt>
                <c:pt idx="25">
                  <c:v>71187</c:v>
                </c:pt>
                <c:pt idx="26">
                  <c:v>75892</c:v>
                </c:pt>
                <c:pt idx="27">
                  <c:v>71964</c:v>
                </c:pt>
                <c:pt idx="28">
                  <c:v>69389</c:v>
                </c:pt>
                <c:pt idx="29">
                  <c:v>64690</c:v>
                </c:pt>
                <c:pt idx="30">
                  <c:v>72102</c:v>
                </c:pt>
                <c:pt idx="31">
                  <c:v>66741</c:v>
                </c:pt>
                <c:pt idx="32">
                  <c:v>68340</c:v>
                </c:pt>
                <c:pt idx="33">
                  <c:v>65870</c:v>
                </c:pt>
                <c:pt idx="34">
                  <c:v>63465</c:v>
                </c:pt>
                <c:pt idx="35">
                  <c:v>63603</c:v>
                </c:pt>
                <c:pt idx="36">
                  <c:v>58357</c:v>
                </c:pt>
                <c:pt idx="37">
                  <c:v>58277</c:v>
                </c:pt>
                <c:pt idx="38">
                  <c:v>57537</c:v>
                </c:pt>
                <c:pt idx="39">
                  <c:v>59942</c:v>
                </c:pt>
                <c:pt idx="40">
                  <c:v>56072</c:v>
                </c:pt>
                <c:pt idx="41">
                  <c:v>54210</c:v>
                </c:pt>
                <c:pt idx="42">
                  <c:v>55246</c:v>
                </c:pt>
                <c:pt idx="43">
                  <c:v>56693</c:v>
                </c:pt>
                <c:pt idx="44">
                  <c:v>57551</c:v>
                </c:pt>
                <c:pt idx="45">
                  <c:v>54311</c:v>
                </c:pt>
                <c:pt idx="46">
                  <c:v>51244</c:v>
                </c:pt>
                <c:pt idx="47">
                  <c:v>53052</c:v>
                </c:pt>
                <c:pt idx="48">
                  <c:v>57629</c:v>
                </c:pt>
                <c:pt idx="49">
                  <c:v>55231</c:v>
                </c:pt>
                <c:pt idx="50">
                  <c:v>65791</c:v>
                </c:pt>
                <c:pt idx="51">
                  <c:v>53507</c:v>
                </c:pt>
                <c:pt idx="52">
                  <c:v>56691</c:v>
                </c:pt>
                <c:pt idx="53">
                  <c:v>52546</c:v>
                </c:pt>
                <c:pt idx="54">
                  <c:v>46210</c:v>
                </c:pt>
                <c:pt idx="55">
                  <c:v>50271</c:v>
                </c:pt>
                <c:pt idx="56">
                  <c:v>52504</c:v>
                </c:pt>
                <c:pt idx="57">
                  <c:v>51098</c:v>
                </c:pt>
                <c:pt idx="58">
                  <c:v>49986</c:v>
                </c:pt>
                <c:pt idx="59">
                  <c:v>52362</c:v>
                </c:pt>
                <c:pt idx="60">
                  <c:v>53869</c:v>
                </c:pt>
                <c:pt idx="61">
                  <c:v>54210</c:v>
                </c:pt>
                <c:pt idx="62">
                  <c:v>50204</c:v>
                </c:pt>
                <c:pt idx="63">
                  <c:v>48787</c:v>
                </c:pt>
                <c:pt idx="64">
                  <c:v>51451</c:v>
                </c:pt>
                <c:pt idx="65">
                  <c:v>51529</c:v>
                </c:pt>
                <c:pt idx="66">
                  <c:v>50637</c:v>
                </c:pt>
                <c:pt idx="67">
                  <c:v>51234</c:v>
                </c:pt>
                <c:pt idx="68">
                  <c:v>50297</c:v>
                </c:pt>
                <c:pt idx="69">
                  <c:v>54879</c:v>
                </c:pt>
                <c:pt idx="70">
                  <c:v>51799</c:v>
                </c:pt>
                <c:pt idx="71">
                  <c:v>48569</c:v>
                </c:pt>
                <c:pt idx="72">
                  <c:v>50835</c:v>
                </c:pt>
                <c:pt idx="73">
                  <c:v>52251</c:v>
                </c:pt>
                <c:pt idx="74">
                  <c:v>56104</c:v>
                </c:pt>
                <c:pt idx="75">
                  <c:v>52527</c:v>
                </c:pt>
                <c:pt idx="76">
                  <c:v>49296</c:v>
                </c:pt>
                <c:pt idx="77">
                  <c:v>37299</c:v>
                </c:pt>
                <c:pt idx="78">
                  <c:v>30303</c:v>
                </c:pt>
                <c:pt idx="79">
                  <c:v>18326</c:v>
                </c:pt>
                <c:pt idx="80">
                  <c:v>15077</c:v>
                </c:pt>
                <c:pt idx="81">
                  <c:v>28787</c:v>
                </c:pt>
                <c:pt idx="82">
                  <c:v>45419</c:v>
                </c:pt>
                <c:pt idx="83">
                  <c:v>47256</c:v>
                </c:pt>
                <c:pt idx="84">
                  <c:v>49978</c:v>
                </c:pt>
                <c:pt idx="85">
                  <c:v>49983</c:v>
                </c:pt>
                <c:pt idx="86">
                  <c:v>51070</c:v>
                </c:pt>
                <c:pt idx="87">
                  <c:v>50176</c:v>
                </c:pt>
                <c:pt idx="88">
                  <c:v>47533</c:v>
                </c:pt>
                <c:pt idx="89">
                  <c:v>46426</c:v>
                </c:pt>
                <c:pt idx="90">
                  <c:v>45187</c:v>
                </c:pt>
                <c:pt idx="91">
                  <c:v>49373</c:v>
                </c:pt>
                <c:pt idx="92">
                  <c:v>44428</c:v>
                </c:pt>
                <c:pt idx="93">
                  <c:v>45845</c:v>
                </c:pt>
                <c:pt idx="94">
                  <c:v>43486</c:v>
                </c:pt>
                <c:pt idx="95">
                  <c:v>43854</c:v>
                </c:pt>
                <c:pt idx="96">
                  <c:v>46570</c:v>
                </c:pt>
                <c:pt idx="97">
                  <c:v>43219</c:v>
                </c:pt>
                <c:pt idx="98">
                  <c:v>42097</c:v>
                </c:pt>
                <c:pt idx="99">
                  <c:v>40009</c:v>
                </c:pt>
                <c:pt idx="100">
                  <c:v>43759</c:v>
                </c:pt>
                <c:pt idx="101">
                  <c:v>43335</c:v>
                </c:pt>
                <c:pt idx="102">
                  <c:v>45549</c:v>
                </c:pt>
                <c:pt idx="103">
                  <c:v>47601</c:v>
                </c:pt>
                <c:pt idx="104">
                  <c:v>44041</c:v>
                </c:pt>
                <c:pt idx="105">
                  <c:v>41344</c:v>
                </c:pt>
                <c:pt idx="106">
                  <c:v>46522</c:v>
                </c:pt>
                <c:pt idx="107">
                  <c:v>441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47911</c:v>
                </c:pt>
                <c:pt idx="1">
                  <c:v>49706</c:v>
                </c:pt>
                <c:pt idx="2">
                  <c:v>50139</c:v>
                </c:pt>
                <c:pt idx="3">
                  <c:v>49247</c:v>
                </c:pt>
                <c:pt idx="4">
                  <c:v>47341</c:v>
                </c:pt>
                <c:pt idx="5">
                  <c:v>45995</c:v>
                </c:pt>
                <c:pt idx="6">
                  <c:v>44221</c:v>
                </c:pt>
                <c:pt idx="7">
                  <c:v>40396</c:v>
                </c:pt>
                <c:pt idx="8">
                  <c:v>35564</c:v>
                </c:pt>
                <c:pt idx="9">
                  <c:v>29559</c:v>
                </c:pt>
                <c:pt idx="10">
                  <c:v>23789</c:v>
                </c:pt>
                <c:pt idx="11">
                  <c:v>19131</c:v>
                </c:pt>
                <c:pt idx="12">
                  <c:v>15339</c:v>
                </c:pt>
                <c:pt idx="13">
                  <c:v>11602</c:v>
                </c:pt>
                <c:pt idx="14">
                  <c:v>48523</c:v>
                </c:pt>
                <c:pt idx="15">
                  <c:v>51087</c:v>
                </c:pt>
                <c:pt idx="16">
                  <c:v>52094</c:v>
                </c:pt>
                <c:pt idx="17">
                  <c:v>53982</c:v>
                </c:pt>
                <c:pt idx="18">
                  <c:v>56131</c:v>
                </c:pt>
                <c:pt idx="19">
                  <c:v>63928</c:v>
                </c:pt>
                <c:pt idx="20">
                  <c:v>68267</c:v>
                </c:pt>
                <c:pt idx="21">
                  <c:v>69365</c:v>
                </c:pt>
                <c:pt idx="22">
                  <c:v>69801</c:v>
                </c:pt>
                <c:pt idx="23">
                  <c:v>70438</c:v>
                </c:pt>
                <c:pt idx="24">
                  <c:v>70124</c:v>
                </c:pt>
                <c:pt idx="25">
                  <c:v>69229</c:v>
                </c:pt>
                <c:pt idx="26">
                  <c:v>70771</c:v>
                </c:pt>
                <c:pt idx="27">
                  <c:v>74607</c:v>
                </c:pt>
                <c:pt idx="28">
                  <c:v>73159</c:v>
                </c:pt>
                <c:pt idx="29">
                  <c:v>72004</c:v>
                </c:pt>
                <c:pt idx="30">
                  <c:v>70160</c:v>
                </c:pt>
                <c:pt idx="31">
                  <c:v>67897</c:v>
                </c:pt>
                <c:pt idx="32">
                  <c:v>66810</c:v>
                </c:pt>
                <c:pt idx="33">
                  <c:v>65424</c:v>
                </c:pt>
                <c:pt idx="34">
                  <c:v>64617</c:v>
                </c:pt>
                <c:pt idx="35">
                  <c:v>62797</c:v>
                </c:pt>
                <c:pt idx="36">
                  <c:v>61922</c:v>
                </c:pt>
                <c:pt idx="37">
                  <c:v>60422</c:v>
                </c:pt>
                <c:pt idx="38">
                  <c:v>58958</c:v>
                </c:pt>
                <c:pt idx="39">
                  <c:v>57956</c:v>
                </c:pt>
                <c:pt idx="40">
                  <c:v>57102</c:v>
                </c:pt>
                <c:pt idx="41">
                  <c:v>56995</c:v>
                </c:pt>
                <c:pt idx="42">
                  <c:v>56500</c:v>
                </c:pt>
                <c:pt idx="43">
                  <c:v>55729</c:v>
                </c:pt>
                <c:pt idx="44">
                  <c:v>54870</c:v>
                </c:pt>
                <c:pt idx="45">
                  <c:v>55064</c:v>
                </c:pt>
                <c:pt idx="46">
                  <c:v>55198</c:v>
                </c:pt>
                <c:pt idx="47">
                  <c:v>56520</c:v>
                </c:pt>
                <c:pt idx="48">
                  <c:v>56113</c:v>
                </c:pt>
                <c:pt idx="49">
                  <c:v>56018</c:v>
                </c:pt>
                <c:pt idx="50">
                  <c:v>55789</c:v>
                </c:pt>
                <c:pt idx="51">
                  <c:v>55163</c:v>
                </c:pt>
                <c:pt idx="52">
                  <c:v>54816</c:v>
                </c:pt>
                <c:pt idx="53">
                  <c:v>54192</c:v>
                </c:pt>
                <c:pt idx="54">
                  <c:v>53668</c:v>
                </c:pt>
                <c:pt idx="55">
                  <c:v>51710</c:v>
                </c:pt>
                <c:pt idx="56">
                  <c:v>51498</c:v>
                </c:pt>
                <c:pt idx="57">
                  <c:v>51159</c:v>
                </c:pt>
                <c:pt idx="58">
                  <c:v>51371</c:v>
                </c:pt>
                <c:pt idx="59">
                  <c:v>51854</c:v>
                </c:pt>
                <c:pt idx="60">
                  <c:v>51658</c:v>
                </c:pt>
                <c:pt idx="61">
                  <c:v>51541</c:v>
                </c:pt>
                <c:pt idx="62">
                  <c:v>51584</c:v>
                </c:pt>
                <c:pt idx="63">
                  <c:v>51648</c:v>
                </c:pt>
                <c:pt idx="64">
                  <c:v>51505</c:v>
                </c:pt>
                <c:pt idx="65">
                  <c:v>51066</c:v>
                </c:pt>
                <c:pt idx="66">
                  <c:v>51155</c:v>
                </c:pt>
                <c:pt idx="67">
                  <c:v>51355</c:v>
                </c:pt>
                <c:pt idx="68">
                  <c:v>51334</c:v>
                </c:pt>
                <c:pt idx="69">
                  <c:v>51243</c:v>
                </c:pt>
                <c:pt idx="70">
                  <c:v>51333</c:v>
                </c:pt>
                <c:pt idx="71">
                  <c:v>52018</c:v>
                </c:pt>
                <c:pt idx="72">
                  <c:v>52185</c:v>
                </c:pt>
                <c:pt idx="73">
                  <c:v>52062</c:v>
                </c:pt>
                <c:pt idx="74">
                  <c:v>49879</c:v>
                </c:pt>
                <c:pt idx="75">
                  <c:v>47199</c:v>
                </c:pt>
                <c:pt idx="76">
                  <c:v>43412</c:v>
                </c:pt>
                <c:pt idx="77">
                  <c:v>38950</c:v>
                </c:pt>
                <c:pt idx="78">
                  <c:v>36016</c:v>
                </c:pt>
                <c:pt idx="79">
                  <c:v>34692</c:v>
                </c:pt>
                <c:pt idx="80">
                  <c:v>34021</c:v>
                </c:pt>
                <c:pt idx="81">
                  <c:v>34101</c:v>
                </c:pt>
                <c:pt idx="82">
                  <c:v>35667</c:v>
                </c:pt>
                <c:pt idx="83">
                  <c:v>38246</c:v>
                </c:pt>
                <c:pt idx="84">
                  <c:v>42262</c:v>
                </c:pt>
                <c:pt idx="85">
                  <c:v>46334</c:v>
                </c:pt>
                <c:pt idx="86">
                  <c:v>48523</c:v>
                </c:pt>
                <c:pt idx="87">
                  <c:v>48494</c:v>
                </c:pt>
                <c:pt idx="88">
                  <c:v>48760</c:v>
                </c:pt>
                <c:pt idx="89">
                  <c:v>48080</c:v>
                </c:pt>
                <c:pt idx="90">
                  <c:v>47563</c:v>
                </c:pt>
                <c:pt idx="91">
                  <c:v>46621</c:v>
                </c:pt>
                <c:pt idx="92">
                  <c:v>45828</c:v>
                </c:pt>
                <c:pt idx="93">
                  <c:v>45702</c:v>
                </c:pt>
                <c:pt idx="94">
                  <c:v>45304</c:v>
                </c:pt>
                <c:pt idx="95">
                  <c:v>44917</c:v>
                </c:pt>
                <c:pt idx="96">
                  <c:v>43749</c:v>
                </c:pt>
                <c:pt idx="97">
                  <c:v>43674</c:v>
                </c:pt>
                <c:pt idx="98">
                  <c:v>43319</c:v>
                </c:pt>
                <c:pt idx="99">
                  <c:v>43580</c:v>
                </c:pt>
                <c:pt idx="100">
                  <c:v>44061</c:v>
                </c:pt>
                <c:pt idx="101">
                  <c:v>43761</c:v>
                </c:pt>
                <c:pt idx="102">
                  <c:v>43532</c:v>
                </c:pt>
                <c:pt idx="103">
                  <c:v>44075</c:v>
                </c:pt>
                <c:pt idx="104">
                  <c:v>44631</c:v>
                </c:pt>
                <c:pt idx="105">
                  <c:v>44864</c:v>
                </c:pt>
                <c:pt idx="106">
                  <c:v>45515</c:v>
                </c:pt>
                <c:pt idx="107">
                  <c:v>45689</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01</c:v>
                </c:pt>
                <c:pt idx="12">
                  <c:v>0.01</c:v>
                </c:pt>
                <c:pt idx="13">
                  <c:v>0.01</c:v>
                </c:pt>
                <c:pt idx="14">
                  <c:v>0.35</c:v>
                </c:pt>
                <c:pt idx="15">
                  <c:v>0.12</c:v>
                </c:pt>
                <c:pt idx="16">
                  <c:v>0.04</c:v>
                </c:pt>
                <c:pt idx="17">
                  <c:v>0.02</c:v>
                </c:pt>
                <c:pt idx="18">
                  <c:v>0.01</c:v>
                </c:pt>
                <c:pt idx="19">
                  <c:v>0.01</c:v>
                </c:pt>
                <c:pt idx="20">
                  <c:v>0.01</c:v>
                </c:pt>
                <c:pt idx="21">
                  <c:v>0</c:v>
                </c:pt>
                <c:pt idx="22">
                  <c:v>0.01</c:v>
                </c:pt>
                <c:pt idx="23">
                  <c:v>0</c:v>
                </c:pt>
                <c:pt idx="24">
                  <c:v>0</c:v>
                </c:pt>
                <c:pt idx="25">
                  <c:v>0.01</c:v>
                </c:pt>
                <c:pt idx="26">
                  <c:v>0.01</c:v>
                </c:pt>
                <c:pt idx="27">
                  <c:v>0.01</c:v>
                </c:pt>
                <c:pt idx="28">
                  <c:v>0</c:v>
                </c:pt>
                <c:pt idx="29">
                  <c:v>0.01</c:v>
                </c:pt>
                <c:pt idx="30">
                  <c:v>0</c:v>
                </c:pt>
                <c:pt idx="31">
                  <c:v>0.01</c:v>
                </c:pt>
                <c:pt idx="32">
                  <c:v>0.01</c:v>
                </c:pt>
                <c:pt idx="33">
                  <c:v>0.01</c:v>
                </c:pt>
                <c:pt idx="34">
                  <c:v>0.01</c:v>
                </c:pt>
                <c:pt idx="35">
                  <c:v>0</c:v>
                </c:pt>
                <c:pt idx="36">
                  <c:v>0.01</c:v>
                </c:pt>
                <c:pt idx="37">
                  <c:v>0.01</c:v>
                </c:pt>
                <c:pt idx="38">
                  <c:v>0.01</c:v>
                </c:pt>
                <c:pt idx="39">
                  <c:v>0.01</c:v>
                </c:pt>
                <c:pt idx="40">
                  <c:v>0.02</c:v>
                </c:pt>
                <c:pt idx="41">
                  <c:v>0.02</c:v>
                </c:pt>
                <c:pt idx="42">
                  <c:v>0.02</c:v>
                </c:pt>
                <c:pt idx="43">
                  <c:v>0.02</c:v>
                </c:pt>
                <c:pt idx="44">
                  <c:v>0.01</c:v>
                </c:pt>
                <c:pt idx="45">
                  <c:v>0.02</c:v>
                </c:pt>
                <c:pt idx="46">
                  <c:v>0.03</c:v>
                </c:pt>
                <c:pt idx="47">
                  <c:v>0.02</c:v>
                </c:pt>
                <c:pt idx="48">
                  <c:v>0.02</c:v>
                </c:pt>
                <c:pt idx="49">
                  <c:v>0.02</c:v>
                </c:pt>
                <c:pt idx="50">
                  <c:v>0.02</c:v>
                </c:pt>
                <c:pt idx="51">
                  <c:v>0.02</c:v>
                </c:pt>
                <c:pt idx="52">
                  <c:v>0.02</c:v>
                </c:pt>
                <c:pt idx="53">
                  <c:v>0.03</c:v>
                </c:pt>
                <c:pt idx="54">
                  <c:v>0.02</c:v>
                </c:pt>
                <c:pt idx="55">
                  <c:v>0.02</c:v>
                </c:pt>
                <c:pt idx="56">
                  <c:v>0.02</c:v>
                </c:pt>
                <c:pt idx="57">
                  <c:v>0.03</c:v>
                </c:pt>
                <c:pt idx="58">
                  <c:v>0.02</c:v>
                </c:pt>
                <c:pt idx="59">
                  <c:v>0.02</c:v>
                </c:pt>
                <c:pt idx="60">
                  <c:v>0.02</c:v>
                </c:pt>
                <c:pt idx="61">
                  <c:v>0.02</c:v>
                </c:pt>
                <c:pt idx="62">
                  <c:v>0.03</c:v>
                </c:pt>
                <c:pt idx="63">
                  <c:v>0.02</c:v>
                </c:pt>
                <c:pt idx="64">
                  <c:v>0.02</c:v>
                </c:pt>
                <c:pt idx="65">
                  <c:v>0.02</c:v>
                </c:pt>
                <c:pt idx="66">
                  <c:v>0.02</c:v>
                </c:pt>
                <c:pt idx="67">
                  <c:v>0.02</c:v>
                </c:pt>
                <c:pt idx="68">
                  <c:v>0.02</c:v>
                </c:pt>
                <c:pt idx="69">
                  <c:v>0.02</c:v>
                </c:pt>
                <c:pt idx="70">
                  <c:v>0.02</c:v>
                </c:pt>
                <c:pt idx="71">
                  <c:v>0.02</c:v>
                </c:pt>
                <c:pt idx="72">
                  <c:v>0.02</c:v>
                </c:pt>
                <c:pt idx="73">
                  <c:v>0.02</c:v>
                </c:pt>
                <c:pt idx="74">
                  <c:v>0.01</c:v>
                </c:pt>
                <c:pt idx="75">
                  <c:v>0.02</c:v>
                </c:pt>
                <c:pt idx="76">
                  <c:v>0.02</c:v>
                </c:pt>
                <c:pt idx="77">
                  <c:v>0.02</c:v>
                </c:pt>
                <c:pt idx="78">
                  <c:v>0.03</c:v>
                </c:pt>
                <c:pt idx="79">
                  <c:v>0.02</c:v>
                </c:pt>
                <c:pt idx="80">
                  <c:v>0.04</c:v>
                </c:pt>
                <c:pt idx="81">
                  <c:v>0.02</c:v>
                </c:pt>
                <c:pt idx="82">
                  <c:v>0.02</c:v>
                </c:pt>
                <c:pt idx="83">
                  <c:v>0.01</c:v>
                </c:pt>
                <c:pt idx="84">
                  <c:v>0.01</c:v>
                </c:pt>
                <c:pt idx="85">
                  <c:v>0.01</c:v>
                </c:pt>
                <c:pt idx="86">
                  <c:v>0.01</c:v>
                </c:pt>
                <c:pt idx="87">
                  <c:v>0.02</c:v>
                </c:pt>
                <c:pt idx="88">
                  <c:v>0.02</c:v>
                </c:pt>
                <c:pt idx="89">
                  <c:v>0.02</c:v>
                </c:pt>
                <c:pt idx="90">
                  <c:v>0.03</c:v>
                </c:pt>
                <c:pt idx="91">
                  <c:v>0.02</c:v>
                </c:pt>
                <c:pt idx="92">
                  <c:v>0.02</c:v>
                </c:pt>
                <c:pt idx="93">
                  <c:v>0.02</c:v>
                </c:pt>
                <c:pt idx="94">
                  <c:v>0.02</c:v>
                </c:pt>
                <c:pt idx="95">
                  <c:v>0.01</c:v>
                </c:pt>
                <c:pt idx="96">
                  <c:v>0.02</c:v>
                </c:pt>
                <c:pt idx="97">
                  <c:v>0.02</c:v>
                </c:pt>
                <c:pt idx="98">
                  <c:v>0.02</c:v>
                </c:pt>
                <c:pt idx="99">
                  <c:v>0.02</c:v>
                </c:pt>
                <c:pt idx="100">
                  <c:v>0.02</c:v>
                </c:pt>
                <c:pt idx="101">
                  <c:v>0.02</c:v>
                </c:pt>
                <c:pt idx="102">
                  <c:v>0.02</c:v>
                </c:pt>
                <c:pt idx="103">
                  <c:v>0.02</c:v>
                </c:pt>
                <c:pt idx="104">
                  <c:v>0.02</c:v>
                </c:pt>
                <c:pt idx="105">
                  <c:v>0.03</c:v>
                </c:pt>
                <c:pt idx="106">
                  <c:v>0.02</c:v>
                </c:pt>
                <c:pt idx="10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89</c:v>
                </c:pt>
                <c:pt idx="1">
                  <c:v>284</c:v>
                </c:pt>
                <c:pt idx="2">
                  <c:v>294</c:v>
                </c:pt>
                <c:pt idx="3">
                  <c:v>315</c:v>
                </c:pt>
                <c:pt idx="4">
                  <c:v>310</c:v>
                </c:pt>
                <c:pt idx="5">
                  <c:v>279</c:v>
                </c:pt>
                <c:pt idx="6">
                  <c:v>329</c:v>
                </c:pt>
                <c:pt idx="7">
                  <c:v>177</c:v>
                </c:pt>
                <c:pt idx="8">
                  <c:v>594</c:v>
                </c:pt>
                <c:pt idx="9">
                  <c:v>432</c:v>
                </c:pt>
                <c:pt idx="10">
                  <c:v>339</c:v>
                </c:pt>
                <c:pt idx="11">
                  <c:v>401</c:v>
                </c:pt>
                <c:pt idx="12">
                  <c:v>281</c:v>
                </c:pt>
                <c:pt idx="13">
                  <c:v>150</c:v>
                </c:pt>
                <c:pt idx="14">
                  <c:v>12324</c:v>
                </c:pt>
                <c:pt idx="15">
                  <c:v>11892</c:v>
                </c:pt>
                <c:pt idx="16">
                  <c:v>5416</c:v>
                </c:pt>
                <c:pt idx="17">
                  <c:v>4549</c:v>
                </c:pt>
                <c:pt idx="18">
                  <c:v>3435</c:v>
                </c:pt>
                <c:pt idx="19">
                  <c:v>2370</c:v>
                </c:pt>
                <c:pt idx="20">
                  <c:v>1967</c:v>
                </c:pt>
                <c:pt idx="21">
                  <c:v>1286</c:v>
                </c:pt>
                <c:pt idx="22">
                  <c:v>1503</c:v>
                </c:pt>
                <c:pt idx="23">
                  <c:v>764</c:v>
                </c:pt>
                <c:pt idx="24">
                  <c:v>914</c:v>
                </c:pt>
                <c:pt idx="25">
                  <c:v>551</c:v>
                </c:pt>
                <c:pt idx="26">
                  <c:v>706</c:v>
                </c:pt>
                <c:pt idx="27">
                  <c:v>396</c:v>
                </c:pt>
                <c:pt idx="28">
                  <c:v>686</c:v>
                </c:pt>
                <c:pt idx="29">
                  <c:v>801</c:v>
                </c:pt>
                <c:pt idx="30">
                  <c:v>817</c:v>
                </c:pt>
                <c:pt idx="31">
                  <c:v>445</c:v>
                </c:pt>
                <c:pt idx="32">
                  <c:v>724</c:v>
                </c:pt>
                <c:pt idx="33">
                  <c:v>284</c:v>
                </c:pt>
                <c:pt idx="34">
                  <c:v>392</c:v>
                </c:pt>
                <c:pt idx="35">
                  <c:v>389</c:v>
                </c:pt>
                <c:pt idx="36">
                  <c:v>490</c:v>
                </c:pt>
                <c:pt idx="37">
                  <c:v>475</c:v>
                </c:pt>
                <c:pt idx="38">
                  <c:v>1147</c:v>
                </c:pt>
                <c:pt idx="39">
                  <c:v>1536</c:v>
                </c:pt>
                <c:pt idx="40">
                  <c:v>805</c:v>
                </c:pt>
                <c:pt idx="41">
                  <c:v>1397</c:v>
                </c:pt>
                <c:pt idx="42">
                  <c:v>1484</c:v>
                </c:pt>
                <c:pt idx="43">
                  <c:v>1448</c:v>
                </c:pt>
                <c:pt idx="44">
                  <c:v>1592</c:v>
                </c:pt>
                <c:pt idx="45">
                  <c:v>1657</c:v>
                </c:pt>
                <c:pt idx="46">
                  <c:v>1495</c:v>
                </c:pt>
                <c:pt idx="47">
                  <c:v>1632</c:v>
                </c:pt>
                <c:pt idx="48">
                  <c:v>1929</c:v>
                </c:pt>
                <c:pt idx="49">
                  <c:v>1583</c:v>
                </c:pt>
                <c:pt idx="50">
                  <c:v>1843</c:v>
                </c:pt>
                <c:pt idx="51">
                  <c:v>1235</c:v>
                </c:pt>
                <c:pt idx="52">
                  <c:v>1567</c:v>
                </c:pt>
                <c:pt idx="53">
                  <c:v>1579</c:v>
                </c:pt>
                <c:pt idx="54">
                  <c:v>1581</c:v>
                </c:pt>
                <c:pt idx="55">
                  <c:v>1543</c:v>
                </c:pt>
                <c:pt idx="56">
                  <c:v>1455</c:v>
                </c:pt>
                <c:pt idx="57">
                  <c:v>1623</c:v>
                </c:pt>
                <c:pt idx="58">
                  <c:v>1274</c:v>
                </c:pt>
                <c:pt idx="59">
                  <c:v>2000</c:v>
                </c:pt>
                <c:pt idx="60">
                  <c:v>1365</c:v>
                </c:pt>
                <c:pt idx="61">
                  <c:v>1410</c:v>
                </c:pt>
                <c:pt idx="62">
                  <c:v>1625</c:v>
                </c:pt>
                <c:pt idx="63">
                  <c:v>1408</c:v>
                </c:pt>
                <c:pt idx="64">
                  <c:v>1696</c:v>
                </c:pt>
                <c:pt idx="65">
                  <c:v>1535</c:v>
                </c:pt>
                <c:pt idx="66">
                  <c:v>1370</c:v>
                </c:pt>
                <c:pt idx="67">
                  <c:v>1463</c:v>
                </c:pt>
                <c:pt idx="68">
                  <c:v>1319</c:v>
                </c:pt>
                <c:pt idx="69">
                  <c:v>1452</c:v>
                </c:pt>
                <c:pt idx="70">
                  <c:v>1490</c:v>
                </c:pt>
                <c:pt idx="71">
                  <c:v>1199</c:v>
                </c:pt>
                <c:pt idx="72">
                  <c:v>1203</c:v>
                </c:pt>
                <c:pt idx="73">
                  <c:v>1177</c:v>
                </c:pt>
                <c:pt idx="74">
                  <c:v>1137</c:v>
                </c:pt>
                <c:pt idx="75">
                  <c:v>1835</c:v>
                </c:pt>
                <c:pt idx="76">
                  <c:v>1296</c:v>
                </c:pt>
                <c:pt idx="77">
                  <c:v>1411</c:v>
                </c:pt>
                <c:pt idx="78">
                  <c:v>1447</c:v>
                </c:pt>
                <c:pt idx="79">
                  <c:v>1500</c:v>
                </c:pt>
                <c:pt idx="80">
                  <c:v>951</c:v>
                </c:pt>
                <c:pt idx="81">
                  <c:v>1219</c:v>
                </c:pt>
                <c:pt idx="82">
                  <c:v>1331</c:v>
                </c:pt>
                <c:pt idx="83">
                  <c:v>1083</c:v>
                </c:pt>
                <c:pt idx="84">
                  <c:v>1311</c:v>
                </c:pt>
                <c:pt idx="85">
                  <c:v>1643</c:v>
                </c:pt>
                <c:pt idx="86">
                  <c:v>926</c:v>
                </c:pt>
                <c:pt idx="87">
                  <c:v>1415</c:v>
                </c:pt>
                <c:pt idx="88">
                  <c:v>1102</c:v>
                </c:pt>
                <c:pt idx="89">
                  <c:v>1283</c:v>
                </c:pt>
                <c:pt idx="90">
                  <c:v>1122</c:v>
                </c:pt>
                <c:pt idx="91">
                  <c:v>1195</c:v>
                </c:pt>
                <c:pt idx="92">
                  <c:v>1247</c:v>
                </c:pt>
                <c:pt idx="93">
                  <c:v>1428</c:v>
                </c:pt>
                <c:pt idx="94">
                  <c:v>859</c:v>
                </c:pt>
                <c:pt idx="95">
                  <c:v>1199</c:v>
                </c:pt>
                <c:pt idx="96">
                  <c:v>1105</c:v>
                </c:pt>
                <c:pt idx="97">
                  <c:v>934</c:v>
                </c:pt>
                <c:pt idx="98">
                  <c:v>1117</c:v>
                </c:pt>
                <c:pt idx="99">
                  <c:v>896</c:v>
                </c:pt>
                <c:pt idx="100">
                  <c:v>1303</c:v>
                </c:pt>
                <c:pt idx="101">
                  <c:v>26539</c:v>
                </c:pt>
                <c:pt idx="102">
                  <c:v>35808</c:v>
                </c:pt>
                <c:pt idx="103">
                  <c:v>21400</c:v>
                </c:pt>
                <c:pt idx="104">
                  <c:v>23633</c:v>
                </c:pt>
                <c:pt idx="105">
                  <c:v>12372</c:v>
                </c:pt>
                <c:pt idx="106">
                  <c:v>5743</c:v>
                </c:pt>
                <c:pt idx="107">
                  <c:v>26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75541</c:v>
                </c:pt>
                <c:pt idx="1">
                  <c:v>73109</c:v>
                </c:pt>
                <c:pt idx="2">
                  <c:v>79011</c:v>
                </c:pt>
                <c:pt idx="3">
                  <c:v>79625</c:v>
                </c:pt>
                <c:pt idx="4">
                  <c:v>83840</c:v>
                </c:pt>
                <c:pt idx="5">
                  <c:v>83439</c:v>
                </c:pt>
                <c:pt idx="6">
                  <c:v>77686</c:v>
                </c:pt>
                <c:pt idx="7">
                  <c:v>80295</c:v>
                </c:pt>
                <c:pt idx="8">
                  <c:v>79128</c:v>
                </c:pt>
                <c:pt idx="9">
                  <c:v>74010</c:v>
                </c:pt>
                <c:pt idx="10">
                  <c:v>60685</c:v>
                </c:pt>
                <c:pt idx="11">
                  <c:v>52449</c:v>
                </c:pt>
                <c:pt idx="12">
                  <c:v>43830</c:v>
                </c:pt>
                <c:pt idx="13">
                  <c:v>38930</c:v>
                </c:pt>
                <c:pt idx="14">
                  <c:v>32205</c:v>
                </c:pt>
                <c:pt idx="15">
                  <c:v>78882</c:v>
                </c:pt>
                <c:pt idx="16">
                  <c:v>116390</c:v>
                </c:pt>
                <c:pt idx="17">
                  <c:v>131281</c:v>
                </c:pt>
                <c:pt idx="18">
                  <c:v>125683</c:v>
                </c:pt>
                <c:pt idx="19">
                  <c:v>124214</c:v>
                </c:pt>
                <c:pt idx="20">
                  <c:v>130499</c:v>
                </c:pt>
                <c:pt idx="21">
                  <c:v>138041</c:v>
                </c:pt>
                <c:pt idx="22">
                  <c:v>137895</c:v>
                </c:pt>
                <c:pt idx="23">
                  <c:v>135001</c:v>
                </c:pt>
                <c:pt idx="24">
                  <c:v>132195</c:v>
                </c:pt>
                <c:pt idx="25">
                  <c:v>138434</c:v>
                </c:pt>
                <c:pt idx="26">
                  <c:v>142842</c:v>
                </c:pt>
                <c:pt idx="27">
                  <c:v>142814</c:v>
                </c:pt>
                <c:pt idx="28">
                  <c:v>141082</c:v>
                </c:pt>
                <c:pt idx="29">
                  <c:v>139856</c:v>
                </c:pt>
                <c:pt idx="30">
                  <c:v>153242</c:v>
                </c:pt>
                <c:pt idx="31">
                  <c:v>146006</c:v>
                </c:pt>
                <c:pt idx="32">
                  <c:v>144727</c:v>
                </c:pt>
                <c:pt idx="33">
                  <c:v>141814</c:v>
                </c:pt>
                <c:pt idx="34">
                  <c:v>146481</c:v>
                </c:pt>
                <c:pt idx="35">
                  <c:v>143629</c:v>
                </c:pt>
                <c:pt idx="36">
                  <c:v>134037</c:v>
                </c:pt>
                <c:pt idx="37">
                  <c:v>136491</c:v>
                </c:pt>
                <c:pt idx="38">
                  <c:v>136766</c:v>
                </c:pt>
                <c:pt idx="39">
                  <c:v>143508</c:v>
                </c:pt>
                <c:pt idx="40">
                  <c:v>136763</c:v>
                </c:pt>
                <c:pt idx="41">
                  <c:v>135826</c:v>
                </c:pt>
                <c:pt idx="42">
                  <c:v>136202</c:v>
                </c:pt>
                <c:pt idx="43">
                  <c:v>142563</c:v>
                </c:pt>
                <c:pt idx="44">
                  <c:v>145925</c:v>
                </c:pt>
                <c:pt idx="45">
                  <c:v>137784</c:v>
                </c:pt>
                <c:pt idx="46">
                  <c:v>131322</c:v>
                </c:pt>
                <c:pt idx="47">
                  <c:v>144569</c:v>
                </c:pt>
                <c:pt idx="48">
                  <c:v>149716</c:v>
                </c:pt>
                <c:pt idx="49">
                  <c:v>145929</c:v>
                </c:pt>
                <c:pt idx="50">
                  <c:v>167007</c:v>
                </c:pt>
                <c:pt idx="51">
                  <c:v>127155</c:v>
                </c:pt>
                <c:pt idx="52">
                  <c:v>146873</c:v>
                </c:pt>
                <c:pt idx="53">
                  <c:v>138653</c:v>
                </c:pt>
                <c:pt idx="54">
                  <c:v>129754</c:v>
                </c:pt>
                <c:pt idx="55">
                  <c:v>133970</c:v>
                </c:pt>
                <c:pt idx="56">
                  <c:v>137724</c:v>
                </c:pt>
                <c:pt idx="57">
                  <c:v>139634</c:v>
                </c:pt>
                <c:pt idx="58">
                  <c:v>132481</c:v>
                </c:pt>
                <c:pt idx="59">
                  <c:v>139741</c:v>
                </c:pt>
                <c:pt idx="60">
                  <c:v>146875</c:v>
                </c:pt>
                <c:pt idx="61">
                  <c:v>147777</c:v>
                </c:pt>
                <c:pt idx="62">
                  <c:v>141202</c:v>
                </c:pt>
                <c:pt idx="63">
                  <c:v>133765</c:v>
                </c:pt>
                <c:pt idx="64">
                  <c:v>137958</c:v>
                </c:pt>
                <c:pt idx="65">
                  <c:v>144406</c:v>
                </c:pt>
                <c:pt idx="66">
                  <c:v>143878</c:v>
                </c:pt>
                <c:pt idx="67">
                  <c:v>143530</c:v>
                </c:pt>
                <c:pt idx="68">
                  <c:v>139539</c:v>
                </c:pt>
                <c:pt idx="69">
                  <c:v>149223</c:v>
                </c:pt>
                <c:pt idx="70">
                  <c:v>145439</c:v>
                </c:pt>
                <c:pt idx="71">
                  <c:v>134645</c:v>
                </c:pt>
                <c:pt idx="72">
                  <c:v>144115</c:v>
                </c:pt>
                <c:pt idx="73">
                  <c:v>139567</c:v>
                </c:pt>
                <c:pt idx="74">
                  <c:v>155323</c:v>
                </c:pt>
                <c:pt idx="75">
                  <c:v>144044</c:v>
                </c:pt>
                <c:pt idx="76">
                  <c:v>145392</c:v>
                </c:pt>
                <c:pt idx="77">
                  <c:v>145941</c:v>
                </c:pt>
                <c:pt idx="78">
                  <c:v>158709</c:v>
                </c:pt>
                <c:pt idx="79">
                  <c:v>146195</c:v>
                </c:pt>
                <c:pt idx="80">
                  <c:v>148759</c:v>
                </c:pt>
                <c:pt idx="81">
                  <c:v>145861</c:v>
                </c:pt>
                <c:pt idx="82">
                  <c:v>153868</c:v>
                </c:pt>
                <c:pt idx="83">
                  <c:v>149007</c:v>
                </c:pt>
                <c:pt idx="84">
                  <c:v>148159</c:v>
                </c:pt>
                <c:pt idx="85">
                  <c:v>145554</c:v>
                </c:pt>
                <c:pt idx="86">
                  <c:v>148235</c:v>
                </c:pt>
                <c:pt idx="87">
                  <c:v>150150</c:v>
                </c:pt>
                <c:pt idx="88">
                  <c:v>138945</c:v>
                </c:pt>
                <c:pt idx="89">
                  <c:v>141618</c:v>
                </c:pt>
                <c:pt idx="90">
                  <c:v>137152</c:v>
                </c:pt>
                <c:pt idx="91">
                  <c:v>153264</c:v>
                </c:pt>
                <c:pt idx="92">
                  <c:v>138757</c:v>
                </c:pt>
                <c:pt idx="93">
                  <c:v>142579</c:v>
                </c:pt>
                <c:pt idx="94">
                  <c:v>138356</c:v>
                </c:pt>
                <c:pt idx="95">
                  <c:v>144237</c:v>
                </c:pt>
                <c:pt idx="96">
                  <c:v>147883</c:v>
                </c:pt>
                <c:pt idx="97">
                  <c:v>141091</c:v>
                </c:pt>
                <c:pt idx="98">
                  <c:v>138526</c:v>
                </c:pt>
                <c:pt idx="99">
                  <c:v>127713</c:v>
                </c:pt>
                <c:pt idx="100">
                  <c:v>148015</c:v>
                </c:pt>
                <c:pt idx="101">
                  <c:v>121691</c:v>
                </c:pt>
                <c:pt idx="102">
                  <c:v>112070</c:v>
                </c:pt>
                <c:pt idx="103">
                  <c:v>96392</c:v>
                </c:pt>
                <c:pt idx="104">
                  <c:v>100237</c:v>
                </c:pt>
                <c:pt idx="105">
                  <c:v>90398</c:v>
                </c:pt>
                <c:pt idx="106">
                  <c:v>110044</c:v>
                </c:pt>
                <c:pt idx="107">
                  <c:v>13731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D$2:$D$109</c:f>
              <c:numCache>
                <c:formatCode>General</c:formatCode>
                <c:ptCount val="108"/>
                <c:pt idx="0">
                  <c:v>75930</c:v>
                </c:pt>
                <c:pt idx="1">
                  <c:v>73393</c:v>
                </c:pt>
                <c:pt idx="2">
                  <c:v>79305</c:v>
                </c:pt>
                <c:pt idx="3">
                  <c:v>79940</c:v>
                </c:pt>
                <c:pt idx="4">
                  <c:v>84150</c:v>
                </c:pt>
                <c:pt idx="5">
                  <c:v>83718</c:v>
                </c:pt>
                <c:pt idx="6">
                  <c:v>78015</c:v>
                </c:pt>
                <c:pt idx="7">
                  <c:v>80472</c:v>
                </c:pt>
                <c:pt idx="8">
                  <c:v>79722</c:v>
                </c:pt>
                <c:pt idx="9">
                  <c:v>74442</c:v>
                </c:pt>
                <c:pt idx="10">
                  <c:v>61024</c:v>
                </c:pt>
                <c:pt idx="11">
                  <c:v>52850</c:v>
                </c:pt>
                <c:pt idx="12">
                  <c:v>44111</c:v>
                </c:pt>
                <c:pt idx="13">
                  <c:v>39080</c:v>
                </c:pt>
                <c:pt idx="14">
                  <c:v>44529</c:v>
                </c:pt>
                <c:pt idx="15">
                  <c:v>90774</c:v>
                </c:pt>
                <c:pt idx="16">
                  <c:v>121806</c:v>
                </c:pt>
                <c:pt idx="17">
                  <c:v>135830</c:v>
                </c:pt>
                <c:pt idx="18">
                  <c:v>129118</c:v>
                </c:pt>
                <c:pt idx="19">
                  <c:v>126584</c:v>
                </c:pt>
                <c:pt idx="20">
                  <c:v>132466</c:v>
                </c:pt>
                <c:pt idx="21">
                  <c:v>139327</c:v>
                </c:pt>
                <c:pt idx="22">
                  <c:v>139398</c:v>
                </c:pt>
                <c:pt idx="23">
                  <c:v>135765</c:v>
                </c:pt>
                <c:pt idx="24">
                  <c:v>133109</c:v>
                </c:pt>
                <c:pt idx="25">
                  <c:v>138985</c:v>
                </c:pt>
                <c:pt idx="26">
                  <c:v>143548</c:v>
                </c:pt>
                <c:pt idx="27">
                  <c:v>143210</c:v>
                </c:pt>
                <c:pt idx="28">
                  <c:v>141768</c:v>
                </c:pt>
                <c:pt idx="29">
                  <c:v>140657</c:v>
                </c:pt>
                <c:pt idx="30">
                  <c:v>154059</c:v>
                </c:pt>
                <c:pt idx="31">
                  <c:v>146451</c:v>
                </c:pt>
                <c:pt idx="32">
                  <c:v>145451</c:v>
                </c:pt>
                <c:pt idx="33">
                  <c:v>142098</c:v>
                </c:pt>
                <c:pt idx="34">
                  <c:v>146873</c:v>
                </c:pt>
                <c:pt idx="35">
                  <c:v>144018</c:v>
                </c:pt>
                <c:pt idx="36">
                  <c:v>134527</c:v>
                </c:pt>
                <c:pt idx="37">
                  <c:v>136966</c:v>
                </c:pt>
                <c:pt idx="38">
                  <c:v>137913</c:v>
                </c:pt>
                <c:pt idx="39">
                  <c:v>145044</c:v>
                </c:pt>
                <c:pt idx="40">
                  <c:v>137568</c:v>
                </c:pt>
                <c:pt idx="41">
                  <c:v>137223</c:v>
                </c:pt>
                <c:pt idx="42">
                  <c:v>137686</c:v>
                </c:pt>
                <c:pt idx="43">
                  <c:v>144011</c:v>
                </c:pt>
                <c:pt idx="44">
                  <c:v>147517</c:v>
                </c:pt>
                <c:pt idx="45">
                  <c:v>139441</c:v>
                </c:pt>
                <c:pt idx="46">
                  <c:v>132817</c:v>
                </c:pt>
                <c:pt idx="47">
                  <c:v>146201</c:v>
                </c:pt>
                <c:pt idx="48">
                  <c:v>151645</c:v>
                </c:pt>
                <c:pt idx="49">
                  <c:v>147512</c:v>
                </c:pt>
                <c:pt idx="50">
                  <c:v>168850</c:v>
                </c:pt>
                <c:pt idx="51">
                  <c:v>128390</c:v>
                </c:pt>
                <c:pt idx="52">
                  <c:v>148440</c:v>
                </c:pt>
                <c:pt idx="53">
                  <c:v>140232</c:v>
                </c:pt>
                <c:pt idx="54">
                  <c:v>131335</c:v>
                </c:pt>
                <c:pt idx="55">
                  <c:v>135513</c:v>
                </c:pt>
                <c:pt idx="56">
                  <c:v>139179</c:v>
                </c:pt>
                <c:pt idx="57">
                  <c:v>141257</c:v>
                </c:pt>
                <c:pt idx="58">
                  <c:v>133755</c:v>
                </c:pt>
                <c:pt idx="59">
                  <c:v>141741</c:v>
                </c:pt>
                <c:pt idx="60">
                  <c:v>148240</c:v>
                </c:pt>
                <c:pt idx="61">
                  <c:v>149187</c:v>
                </c:pt>
                <c:pt idx="62">
                  <c:v>142827</c:v>
                </c:pt>
                <c:pt idx="63">
                  <c:v>135173</c:v>
                </c:pt>
                <c:pt idx="64">
                  <c:v>139654</c:v>
                </c:pt>
                <c:pt idx="65">
                  <c:v>145941</c:v>
                </c:pt>
                <c:pt idx="66">
                  <c:v>145248</c:v>
                </c:pt>
                <c:pt idx="67">
                  <c:v>144993</c:v>
                </c:pt>
                <c:pt idx="68">
                  <c:v>140858</c:v>
                </c:pt>
                <c:pt idx="69">
                  <c:v>150675</c:v>
                </c:pt>
                <c:pt idx="70">
                  <c:v>146929</c:v>
                </c:pt>
                <c:pt idx="71">
                  <c:v>135844</c:v>
                </c:pt>
                <c:pt idx="72">
                  <c:v>145318</c:v>
                </c:pt>
                <c:pt idx="73">
                  <c:v>140744</c:v>
                </c:pt>
                <c:pt idx="74">
                  <c:v>156460</c:v>
                </c:pt>
                <c:pt idx="75">
                  <c:v>145879</c:v>
                </c:pt>
                <c:pt idx="76">
                  <c:v>146688</c:v>
                </c:pt>
                <c:pt idx="77">
                  <c:v>147352</c:v>
                </c:pt>
                <c:pt idx="78">
                  <c:v>160156</c:v>
                </c:pt>
                <c:pt idx="79">
                  <c:v>147695</c:v>
                </c:pt>
                <c:pt idx="80">
                  <c:v>149710</c:v>
                </c:pt>
                <c:pt idx="81">
                  <c:v>147080</c:v>
                </c:pt>
                <c:pt idx="82">
                  <c:v>155199</c:v>
                </c:pt>
                <c:pt idx="83">
                  <c:v>150090</c:v>
                </c:pt>
                <c:pt idx="84">
                  <c:v>149470</c:v>
                </c:pt>
                <c:pt idx="85">
                  <c:v>147197</c:v>
                </c:pt>
                <c:pt idx="86">
                  <c:v>149161</c:v>
                </c:pt>
                <c:pt idx="87">
                  <c:v>151565</c:v>
                </c:pt>
                <c:pt idx="88">
                  <c:v>140047</c:v>
                </c:pt>
                <c:pt idx="89">
                  <c:v>142901</c:v>
                </c:pt>
                <c:pt idx="90">
                  <c:v>138274</c:v>
                </c:pt>
                <c:pt idx="91">
                  <c:v>154459</c:v>
                </c:pt>
                <c:pt idx="92">
                  <c:v>140004</c:v>
                </c:pt>
                <c:pt idx="93">
                  <c:v>144007</c:v>
                </c:pt>
                <c:pt idx="94">
                  <c:v>139215</c:v>
                </c:pt>
                <c:pt idx="95">
                  <c:v>145436</c:v>
                </c:pt>
                <c:pt idx="96">
                  <c:v>148988</c:v>
                </c:pt>
                <c:pt idx="97">
                  <c:v>142025</c:v>
                </c:pt>
                <c:pt idx="98">
                  <c:v>139643</c:v>
                </c:pt>
                <c:pt idx="99">
                  <c:v>128609</c:v>
                </c:pt>
                <c:pt idx="100">
                  <c:v>149318</c:v>
                </c:pt>
                <c:pt idx="101">
                  <c:v>148230</c:v>
                </c:pt>
                <c:pt idx="102">
                  <c:v>147878</c:v>
                </c:pt>
                <c:pt idx="103">
                  <c:v>117792</c:v>
                </c:pt>
                <c:pt idx="104">
                  <c:v>123870</c:v>
                </c:pt>
                <c:pt idx="105">
                  <c:v>102770</c:v>
                </c:pt>
                <c:pt idx="106">
                  <c:v>115787</c:v>
                </c:pt>
                <c:pt idx="107">
                  <c:v>13991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E$2:$E$109</c:f>
              <c:numCache>
                <c:formatCode>General</c:formatCode>
                <c:ptCount val="108"/>
                <c:pt idx="0">
                  <c:v>77236</c:v>
                </c:pt>
                <c:pt idx="1">
                  <c:v>78613</c:v>
                </c:pt>
                <c:pt idx="2">
                  <c:v>79533</c:v>
                </c:pt>
                <c:pt idx="3">
                  <c:v>79318</c:v>
                </c:pt>
                <c:pt idx="4">
                  <c:v>79529</c:v>
                </c:pt>
                <c:pt idx="5">
                  <c:v>79982</c:v>
                </c:pt>
                <c:pt idx="6">
                  <c:v>80177</c:v>
                </c:pt>
                <c:pt idx="7">
                  <c:v>77830</c:v>
                </c:pt>
                <c:pt idx="8">
                  <c:v>74415</c:v>
                </c:pt>
                <c:pt idx="9">
                  <c:v>69380</c:v>
                </c:pt>
                <c:pt idx="10">
                  <c:v>63798</c:v>
                </c:pt>
                <c:pt idx="11">
                  <c:v>58533</c:v>
                </c:pt>
                <c:pt idx="12">
                  <c:v>51911</c:v>
                </c:pt>
                <c:pt idx="13">
                  <c:v>43709</c:v>
                </c:pt>
                <c:pt idx="14">
                  <c:v>119253</c:v>
                </c:pt>
                <c:pt idx="15">
                  <c:v>120425</c:v>
                </c:pt>
                <c:pt idx="16">
                  <c:v>112969</c:v>
                </c:pt>
                <c:pt idx="17">
                  <c:v>114694</c:v>
                </c:pt>
                <c:pt idx="18">
                  <c:v>115231</c:v>
                </c:pt>
                <c:pt idx="19">
                  <c:v>128001</c:v>
                </c:pt>
                <c:pt idx="20">
                  <c:v>133962</c:v>
                </c:pt>
                <c:pt idx="21">
                  <c:v>134876</c:v>
                </c:pt>
                <c:pt idx="22">
                  <c:v>134948</c:v>
                </c:pt>
                <c:pt idx="23">
                  <c:v>136783</c:v>
                </c:pt>
                <c:pt idx="24">
                  <c:v>139015</c:v>
                </c:pt>
                <c:pt idx="25">
                  <c:v>139693</c:v>
                </c:pt>
                <c:pt idx="26">
                  <c:v>139584</c:v>
                </c:pt>
                <c:pt idx="27">
                  <c:v>141480</c:v>
                </c:pt>
                <c:pt idx="28">
                  <c:v>142873</c:v>
                </c:pt>
                <c:pt idx="29">
                  <c:v>144414</c:v>
                </c:pt>
                <c:pt idx="30">
                  <c:v>144787</c:v>
                </c:pt>
                <c:pt idx="31">
                  <c:v>145203</c:v>
                </c:pt>
                <c:pt idx="32">
                  <c:v>145308</c:v>
                </c:pt>
                <c:pt idx="33">
                  <c:v>144386</c:v>
                </c:pt>
                <c:pt idx="34">
                  <c:v>143921</c:v>
                </c:pt>
                <c:pt idx="35">
                  <c:v>141901</c:v>
                </c:pt>
                <c:pt idx="36">
                  <c:v>141762</c:v>
                </c:pt>
                <c:pt idx="37">
                  <c:v>140782</c:v>
                </c:pt>
                <c:pt idx="38">
                  <c:v>140190</c:v>
                </c:pt>
                <c:pt idx="39">
                  <c:v>139074</c:v>
                </c:pt>
                <c:pt idx="40">
                  <c:v>139117</c:v>
                </c:pt>
                <c:pt idx="41">
                  <c:v>140728</c:v>
                </c:pt>
                <c:pt idx="42">
                  <c:v>141065</c:v>
                </c:pt>
                <c:pt idx="43">
                  <c:v>140443</c:v>
                </c:pt>
                <c:pt idx="44">
                  <c:v>140585</c:v>
                </c:pt>
                <c:pt idx="45">
                  <c:v>142346</c:v>
                </c:pt>
                <c:pt idx="46">
                  <c:v>143572</c:v>
                </c:pt>
                <c:pt idx="47">
                  <c:v>147524</c:v>
                </c:pt>
                <c:pt idx="48">
                  <c:v>145560</c:v>
                </c:pt>
                <c:pt idx="49">
                  <c:v>145571</c:v>
                </c:pt>
                <c:pt idx="50">
                  <c:v>145662</c:v>
                </c:pt>
                <c:pt idx="51">
                  <c:v>145456</c:v>
                </c:pt>
                <c:pt idx="52">
                  <c:v>144107</c:v>
                </c:pt>
                <c:pt idx="53">
                  <c:v>142548</c:v>
                </c:pt>
                <c:pt idx="54">
                  <c:v>141814</c:v>
                </c:pt>
                <c:pt idx="55">
                  <c:v>137429</c:v>
                </c:pt>
                <c:pt idx="56">
                  <c:v>139100</c:v>
                </c:pt>
                <c:pt idx="57">
                  <c:v>139064</c:v>
                </c:pt>
                <c:pt idx="58">
                  <c:v>140142</c:v>
                </c:pt>
                <c:pt idx="59">
                  <c:v>141599</c:v>
                </c:pt>
                <c:pt idx="60">
                  <c:v>141576</c:v>
                </c:pt>
                <c:pt idx="61">
                  <c:v>141624</c:v>
                </c:pt>
                <c:pt idx="62">
                  <c:v>142162</c:v>
                </c:pt>
                <c:pt idx="63">
                  <c:v>143608</c:v>
                </c:pt>
                <c:pt idx="64">
                  <c:v>143990</c:v>
                </c:pt>
                <c:pt idx="65">
                  <c:v>143048</c:v>
                </c:pt>
                <c:pt idx="66">
                  <c:v>143267</c:v>
                </c:pt>
                <c:pt idx="67">
                  <c:v>143771</c:v>
                </c:pt>
                <c:pt idx="68">
                  <c:v>143803</c:v>
                </c:pt>
                <c:pt idx="69">
                  <c:v>144509</c:v>
                </c:pt>
                <c:pt idx="70">
                  <c:v>143862</c:v>
                </c:pt>
                <c:pt idx="71">
                  <c:v>145286</c:v>
                </c:pt>
                <c:pt idx="72">
                  <c:v>145455</c:v>
                </c:pt>
                <c:pt idx="73">
                  <c:v>146141</c:v>
                </c:pt>
                <c:pt idx="74">
                  <c:v>145740</c:v>
                </c:pt>
                <c:pt idx="75">
                  <c:v>147390</c:v>
                </c:pt>
                <c:pt idx="76">
                  <c:v>148888</c:v>
                </c:pt>
                <c:pt idx="77">
                  <c:v>149442</c:v>
                </c:pt>
                <c:pt idx="78">
                  <c:v>150239</c:v>
                </c:pt>
                <c:pt idx="79">
                  <c:v>150105</c:v>
                </c:pt>
                <c:pt idx="80">
                  <c:v>150628</c:v>
                </c:pt>
                <c:pt idx="81">
                  <c:v>150945</c:v>
                </c:pt>
                <c:pt idx="82">
                  <c:v>150919</c:v>
                </c:pt>
                <c:pt idx="83">
                  <c:v>149537</c:v>
                </c:pt>
                <c:pt idx="84">
                  <c:v>150014</c:v>
                </c:pt>
                <c:pt idx="85">
                  <c:v>148860</c:v>
                </c:pt>
                <c:pt idx="86">
                  <c:v>148304</c:v>
                </c:pt>
                <c:pt idx="87">
                  <c:v>146146</c:v>
                </c:pt>
                <c:pt idx="88">
                  <c:v>146735</c:v>
                </c:pt>
                <c:pt idx="89">
                  <c:v>145533</c:v>
                </c:pt>
                <c:pt idx="90">
                  <c:v>145148</c:v>
                </c:pt>
                <c:pt idx="91">
                  <c:v>143910</c:v>
                </c:pt>
                <c:pt idx="92">
                  <c:v>143152</c:v>
                </c:pt>
                <c:pt idx="93">
                  <c:v>144240</c:v>
                </c:pt>
                <c:pt idx="94">
                  <c:v>144099</c:v>
                </c:pt>
                <c:pt idx="95">
                  <c:v>144279</c:v>
                </c:pt>
                <c:pt idx="96">
                  <c:v>171892</c:v>
                </c:pt>
                <c:pt idx="97">
                  <c:v>142249</c:v>
                </c:pt>
                <c:pt idx="98">
                  <c:v>141951</c:v>
                </c:pt>
                <c:pt idx="99">
                  <c:v>142311</c:v>
                </c:pt>
                <c:pt idx="100">
                  <c:v>139745</c:v>
                </c:pt>
                <c:pt idx="101">
                  <c:v>140859</c:v>
                </c:pt>
                <c:pt idx="102">
                  <c:v>140635</c:v>
                </c:pt>
                <c:pt idx="103">
                  <c:v>133781</c:v>
                </c:pt>
                <c:pt idx="104">
                  <c:v>133302</c:v>
                </c:pt>
                <c:pt idx="105">
                  <c:v>115108</c:v>
                </c:pt>
                <c:pt idx="106">
                  <c:v>144871</c:v>
                </c:pt>
                <c:pt idx="107">
                  <c:v>14008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F$2:$F$109</c:f>
              <c:numCache>
                <c:formatCode>General</c:formatCode>
                <c:ptCount val="108"/>
                <c:pt idx="0">
                  <c:v>0.01</c:v>
                </c:pt>
                <c:pt idx="1">
                  <c:v>0</c:v>
                </c:pt>
                <c:pt idx="2">
                  <c:v>0</c:v>
                </c:pt>
                <c:pt idx="3">
                  <c:v>0.01</c:v>
                </c:pt>
                <c:pt idx="4">
                  <c:v>0</c:v>
                </c:pt>
                <c:pt idx="5">
                  <c:v>0.01</c:v>
                </c:pt>
                <c:pt idx="6">
                  <c:v>0.01</c:v>
                </c:pt>
                <c:pt idx="7">
                  <c:v>0</c:v>
                </c:pt>
                <c:pt idx="8">
                  <c:v>0.01</c:v>
                </c:pt>
                <c:pt idx="9">
                  <c:v>0.01</c:v>
                </c:pt>
                <c:pt idx="10">
                  <c:v>0.01</c:v>
                </c:pt>
                <c:pt idx="11">
                  <c:v>0.01</c:v>
                </c:pt>
                <c:pt idx="12">
                  <c:v>0.01</c:v>
                </c:pt>
                <c:pt idx="13">
                  <c:v>0.01</c:v>
                </c:pt>
                <c:pt idx="14">
                  <c:v>0.47</c:v>
                </c:pt>
                <c:pt idx="15">
                  <c:v>0.32</c:v>
                </c:pt>
                <c:pt idx="16">
                  <c:v>0.13</c:v>
                </c:pt>
                <c:pt idx="17">
                  <c:v>0.1</c:v>
                </c:pt>
                <c:pt idx="18">
                  <c:v>7.0000000000000007E-2</c:v>
                </c:pt>
                <c:pt idx="19">
                  <c:v>0.05</c:v>
                </c:pt>
                <c:pt idx="20">
                  <c:v>0.04</c:v>
                </c:pt>
                <c:pt idx="21">
                  <c:v>0.03</c:v>
                </c:pt>
                <c:pt idx="22">
                  <c:v>0.03</c:v>
                </c:pt>
                <c:pt idx="23">
                  <c:v>0.02</c:v>
                </c:pt>
                <c:pt idx="24">
                  <c:v>0.01</c:v>
                </c:pt>
                <c:pt idx="25">
                  <c:v>0.01</c:v>
                </c:pt>
                <c:pt idx="26">
                  <c:v>0.01</c:v>
                </c:pt>
                <c:pt idx="27">
                  <c:v>0.01</c:v>
                </c:pt>
                <c:pt idx="28">
                  <c:v>0.01</c:v>
                </c:pt>
                <c:pt idx="29">
                  <c:v>0.01</c:v>
                </c:pt>
                <c:pt idx="30">
                  <c:v>0.01</c:v>
                </c:pt>
                <c:pt idx="31">
                  <c:v>0</c:v>
                </c:pt>
                <c:pt idx="32">
                  <c:v>0.01</c:v>
                </c:pt>
                <c:pt idx="33">
                  <c:v>0</c:v>
                </c:pt>
                <c:pt idx="34">
                  <c:v>0</c:v>
                </c:pt>
                <c:pt idx="35">
                  <c:v>0</c:v>
                </c:pt>
                <c:pt idx="36">
                  <c:v>0.01</c:v>
                </c:pt>
                <c:pt idx="37">
                  <c:v>0</c:v>
                </c:pt>
                <c:pt idx="38">
                  <c:v>0.01</c:v>
                </c:pt>
                <c:pt idx="39">
                  <c:v>0.01</c:v>
                </c:pt>
                <c:pt idx="40">
                  <c:v>0.01</c:v>
                </c:pt>
                <c:pt idx="41">
                  <c:v>0.01</c:v>
                </c:pt>
                <c:pt idx="42">
                  <c:v>0.01</c:v>
                </c:pt>
                <c:pt idx="43">
                  <c:v>0.01</c:v>
                </c:pt>
                <c:pt idx="44">
                  <c:v>0.01</c:v>
                </c:pt>
                <c:pt idx="45">
                  <c:v>0.01</c:v>
                </c:pt>
                <c:pt idx="46">
                  <c:v>0.01</c:v>
                </c:pt>
                <c:pt idx="47">
                  <c:v>0.01</c:v>
                </c:pt>
                <c:pt idx="48">
                  <c:v>0.02</c:v>
                </c:pt>
                <c:pt idx="49">
                  <c:v>0.01</c:v>
                </c:pt>
                <c:pt idx="50">
                  <c:v>0.01</c:v>
                </c:pt>
                <c:pt idx="51">
                  <c:v>0.01</c:v>
                </c:pt>
                <c:pt idx="52">
                  <c:v>0.01</c:v>
                </c:pt>
                <c:pt idx="53">
                  <c:v>0.01</c:v>
                </c:pt>
                <c:pt idx="54">
                  <c:v>0.01</c:v>
                </c:pt>
                <c:pt idx="55">
                  <c:v>0.01</c:v>
                </c:pt>
                <c:pt idx="56">
                  <c:v>0.01</c:v>
                </c:pt>
                <c:pt idx="57">
                  <c:v>0.01</c:v>
                </c:pt>
                <c:pt idx="58">
                  <c:v>0.01</c:v>
                </c:pt>
                <c:pt idx="59">
                  <c:v>0.02</c:v>
                </c:pt>
                <c:pt idx="60">
                  <c:v>0.01</c:v>
                </c:pt>
                <c:pt idx="61">
                  <c:v>0.01</c:v>
                </c:pt>
                <c:pt idx="62">
                  <c:v>0.01</c:v>
                </c:pt>
                <c:pt idx="63">
                  <c:v>0.01</c:v>
                </c:pt>
                <c:pt idx="64">
                  <c:v>0.01</c:v>
                </c:pt>
                <c:pt idx="65">
                  <c:v>0.01</c:v>
                </c:pt>
                <c:pt idx="66">
                  <c:v>0.01</c:v>
                </c:pt>
                <c:pt idx="67">
                  <c:v>0.01</c:v>
                </c:pt>
                <c:pt idx="68">
                  <c:v>0.01</c:v>
                </c:pt>
                <c:pt idx="69">
                  <c:v>0.01</c:v>
                </c:pt>
                <c:pt idx="70">
                  <c:v>0.01</c:v>
                </c:pt>
                <c:pt idx="71">
                  <c:v>0.01</c:v>
                </c:pt>
                <c:pt idx="72">
                  <c:v>0.01</c:v>
                </c:pt>
                <c:pt idx="73">
                  <c:v>0.01</c:v>
                </c:pt>
                <c:pt idx="74">
                  <c:v>0.01</c:v>
                </c:pt>
                <c:pt idx="75">
                  <c:v>0.01</c:v>
                </c:pt>
                <c:pt idx="76">
                  <c:v>0.01</c:v>
                </c:pt>
                <c:pt idx="77">
                  <c:v>0.01</c:v>
                </c:pt>
                <c:pt idx="78">
                  <c:v>0.01</c:v>
                </c:pt>
                <c:pt idx="79">
                  <c:v>0.01</c:v>
                </c:pt>
                <c:pt idx="80">
                  <c:v>0.01</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pt idx="95">
                  <c:v>0.01</c:v>
                </c:pt>
                <c:pt idx="96">
                  <c:v>0.01</c:v>
                </c:pt>
                <c:pt idx="97">
                  <c:v>0.01</c:v>
                </c:pt>
                <c:pt idx="98">
                  <c:v>0.01</c:v>
                </c:pt>
                <c:pt idx="99">
                  <c:v>0.01</c:v>
                </c:pt>
                <c:pt idx="100">
                  <c:v>0.01</c:v>
                </c:pt>
                <c:pt idx="101">
                  <c:v>0.24</c:v>
                </c:pt>
                <c:pt idx="102">
                  <c:v>0.34</c:v>
                </c:pt>
                <c:pt idx="103">
                  <c:v>0.26</c:v>
                </c:pt>
                <c:pt idx="104">
                  <c:v>0.33</c:v>
                </c:pt>
                <c:pt idx="105">
                  <c:v>0.27</c:v>
                </c:pt>
                <c:pt idx="106">
                  <c:v>0.12</c:v>
                </c:pt>
                <c:pt idx="10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B$2:$B$49</c:f>
              <c:numCache>
                <c:formatCode>General</c:formatCode>
                <c:ptCount val="48"/>
                <c:pt idx="0">
                  <c:v>475</c:v>
                </c:pt>
                <c:pt idx="1">
                  <c:v>8376</c:v>
                </c:pt>
                <c:pt idx="2">
                  <c:v>6402</c:v>
                </c:pt>
                <c:pt idx="3">
                  <c:v>11965</c:v>
                </c:pt>
                <c:pt idx="4">
                  <c:v>7533</c:v>
                </c:pt>
                <c:pt idx="5">
                  <c:v>13572</c:v>
                </c:pt>
                <c:pt idx="6">
                  <c:v>19654</c:v>
                </c:pt>
                <c:pt idx="7">
                  <c:v>20606</c:v>
                </c:pt>
                <c:pt idx="8">
                  <c:v>23727</c:v>
                </c:pt>
                <c:pt idx="9">
                  <c:v>13996</c:v>
                </c:pt>
                <c:pt idx="10">
                  <c:v>22758</c:v>
                </c:pt>
                <c:pt idx="11">
                  <c:v>40918</c:v>
                </c:pt>
                <c:pt idx="12">
                  <c:v>123276</c:v>
                </c:pt>
                <c:pt idx="13">
                  <c:v>65933</c:v>
                </c:pt>
                <c:pt idx="14">
                  <c:v>33328</c:v>
                </c:pt>
                <c:pt idx="15">
                  <c:v>71915</c:v>
                </c:pt>
                <c:pt idx="16">
                  <c:v>49178</c:v>
                </c:pt>
                <c:pt idx="17">
                  <c:v>20389</c:v>
                </c:pt>
                <c:pt idx="18">
                  <c:v>5814</c:v>
                </c:pt>
                <c:pt idx="19">
                  <c:v>1961</c:v>
                </c:pt>
                <c:pt idx="20">
                  <c:v>775</c:v>
                </c:pt>
                <c:pt idx="21">
                  <c:v>473</c:v>
                </c:pt>
                <c:pt idx="22">
                  <c:v>350</c:v>
                </c:pt>
                <c:pt idx="23">
                  <c:v>124</c:v>
                </c:pt>
                <c:pt idx="24">
                  <c:v>178</c:v>
                </c:pt>
                <c:pt idx="25">
                  <c:v>37</c:v>
                </c:pt>
                <c:pt idx="26">
                  <c:v>24</c:v>
                </c:pt>
                <c:pt idx="27">
                  <c:v>11</c:v>
                </c:pt>
                <c:pt idx="28">
                  <c:v>29</c:v>
                </c:pt>
                <c:pt idx="29">
                  <c:v>6</c:v>
                </c:pt>
                <c:pt idx="30">
                  <c:v>12</c:v>
                </c:pt>
                <c:pt idx="31">
                  <c:v>24</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C$2:$C$49</c:f>
              <c:numCache>
                <c:formatCode>General</c:formatCode>
                <c:ptCount val="48"/>
                <c:pt idx="0">
                  <c:v>0</c:v>
                </c:pt>
                <c:pt idx="1">
                  <c:v>0</c:v>
                </c:pt>
                <c:pt idx="2">
                  <c:v>3894</c:v>
                </c:pt>
                <c:pt idx="3">
                  <c:v>0</c:v>
                </c:pt>
                <c:pt idx="4">
                  <c:v>4588</c:v>
                </c:pt>
                <c:pt idx="5">
                  <c:v>842</c:v>
                </c:pt>
                <c:pt idx="6">
                  <c:v>103</c:v>
                </c:pt>
                <c:pt idx="7">
                  <c:v>40</c:v>
                </c:pt>
                <c:pt idx="8">
                  <c:v>154</c:v>
                </c:pt>
                <c:pt idx="9">
                  <c:v>3548</c:v>
                </c:pt>
                <c:pt idx="10">
                  <c:v>1499</c:v>
                </c:pt>
                <c:pt idx="11">
                  <c:v>1824</c:v>
                </c:pt>
                <c:pt idx="12">
                  <c:v>0</c:v>
                </c:pt>
                <c:pt idx="13">
                  <c:v>0</c:v>
                </c:pt>
                <c:pt idx="14">
                  <c:v>0</c:v>
                </c:pt>
                <c:pt idx="15">
                  <c:v>0</c:v>
                </c:pt>
                <c:pt idx="16">
                  <c:v>0</c:v>
                </c:pt>
                <c:pt idx="17">
                  <c:v>0</c:v>
                </c:pt>
                <c:pt idx="18">
                  <c:v>0</c:v>
                </c:pt>
                <c:pt idx="19">
                  <c:v>0</c:v>
                </c:pt>
                <c:pt idx="20">
                  <c:v>4</c:v>
                </c:pt>
                <c:pt idx="21">
                  <c:v>31</c:v>
                </c:pt>
                <c:pt idx="22">
                  <c:v>48</c:v>
                </c:pt>
                <c:pt idx="23">
                  <c:v>15</c:v>
                </c:pt>
                <c:pt idx="24">
                  <c:v>34</c:v>
                </c:pt>
                <c:pt idx="25">
                  <c:v>0</c:v>
                </c:pt>
                <c:pt idx="26">
                  <c:v>5</c:v>
                </c:pt>
                <c:pt idx="27">
                  <c:v>0</c:v>
                </c:pt>
                <c:pt idx="28">
                  <c:v>0</c:v>
                </c:pt>
                <c:pt idx="29">
                  <c:v>0</c:v>
                </c:pt>
                <c:pt idx="30">
                  <c:v>0</c:v>
                </c:pt>
                <c:pt idx="31">
                  <c:v>1</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D$2:$D$49</c:f>
              <c:numCache>
                <c:formatCode>General</c:formatCode>
                <c:ptCount val="48"/>
                <c:pt idx="0">
                  <c:v>475</c:v>
                </c:pt>
                <c:pt idx="1">
                  <c:v>8376</c:v>
                </c:pt>
                <c:pt idx="2">
                  <c:v>10296</c:v>
                </c:pt>
                <c:pt idx="3">
                  <c:v>11965</c:v>
                </c:pt>
                <c:pt idx="4">
                  <c:v>12121</c:v>
                </c:pt>
                <c:pt idx="5">
                  <c:v>14414</c:v>
                </c:pt>
                <c:pt idx="6">
                  <c:v>19757</c:v>
                </c:pt>
                <c:pt idx="7">
                  <c:v>20646</c:v>
                </c:pt>
                <c:pt idx="8">
                  <c:v>23881</c:v>
                </c:pt>
                <c:pt idx="9">
                  <c:v>17544</c:v>
                </c:pt>
                <c:pt idx="10">
                  <c:v>24257</c:v>
                </c:pt>
                <c:pt idx="11">
                  <c:v>42742</c:v>
                </c:pt>
                <c:pt idx="12">
                  <c:v>123276</c:v>
                </c:pt>
                <c:pt idx="13">
                  <c:v>65933</c:v>
                </c:pt>
                <c:pt idx="14">
                  <c:v>33328</c:v>
                </c:pt>
                <c:pt idx="15">
                  <c:v>71915</c:v>
                </c:pt>
                <c:pt idx="16">
                  <c:v>49178</c:v>
                </c:pt>
                <c:pt idx="17">
                  <c:v>20389</c:v>
                </c:pt>
                <c:pt idx="18">
                  <c:v>5814</c:v>
                </c:pt>
                <c:pt idx="19">
                  <c:v>1961</c:v>
                </c:pt>
                <c:pt idx="20">
                  <c:v>779</c:v>
                </c:pt>
                <c:pt idx="21">
                  <c:v>504</c:v>
                </c:pt>
                <c:pt idx="22">
                  <c:v>398</c:v>
                </c:pt>
                <c:pt idx="23">
                  <c:v>139</c:v>
                </c:pt>
                <c:pt idx="24">
                  <c:v>212</c:v>
                </c:pt>
                <c:pt idx="25">
                  <c:v>37</c:v>
                </c:pt>
                <c:pt idx="26">
                  <c:v>29</c:v>
                </c:pt>
                <c:pt idx="27">
                  <c:v>11</c:v>
                </c:pt>
                <c:pt idx="28">
                  <c:v>29</c:v>
                </c:pt>
                <c:pt idx="29">
                  <c:v>6</c:v>
                </c:pt>
                <c:pt idx="30">
                  <c:v>12</c:v>
                </c:pt>
                <c:pt idx="31">
                  <c:v>25</c:v>
                </c:pt>
                <c:pt idx="32">
                  <c:v>12</c:v>
                </c:pt>
                <c:pt idx="33">
                  <c:v>8</c:v>
                </c:pt>
                <c:pt idx="34">
                  <c:v>6</c:v>
                </c:pt>
                <c:pt idx="35">
                  <c:v>12</c:v>
                </c:pt>
                <c:pt idx="36">
                  <c:v>6</c:v>
                </c:pt>
                <c:pt idx="37">
                  <c:v>7</c:v>
                </c:pt>
                <c:pt idx="38">
                  <c:v>6</c:v>
                </c:pt>
                <c:pt idx="39">
                  <c:v>6</c:v>
                </c:pt>
                <c:pt idx="40">
                  <c:v>6</c:v>
                </c:pt>
                <c:pt idx="41">
                  <c:v>6</c:v>
                </c:pt>
                <c:pt idx="42">
                  <c:v>6</c:v>
                </c:pt>
                <c:pt idx="43">
                  <c:v>6</c:v>
                </c:pt>
                <c:pt idx="44">
                  <c:v>100</c:v>
                </c:pt>
                <c:pt idx="45">
                  <c:v>14</c:v>
                </c:pt>
                <c:pt idx="46">
                  <c:v>6</c:v>
                </c:pt>
                <c:pt idx="47">
                  <c:v>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E$2:$E$49</c:f>
              <c:numCache>
                <c:formatCode>General</c:formatCode>
                <c:ptCount val="48"/>
                <c:pt idx="0">
                  <c:v>475</c:v>
                </c:pt>
                <c:pt idx="1">
                  <c:v>8400</c:v>
                </c:pt>
                <c:pt idx="2">
                  <c:v>10325</c:v>
                </c:pt>
                <c:pt idx="3">
                  <c:v>11975</c:v>
                </c:pt>
                <c:pt idx="4">
                  <c:v>12150</c:v>
                </c:pt>
                <c:pt idx="5">
                  <c:v>15250</c:v>
                </c:pt>
                <c:pt idx="6">
                  <c:v>21572</c:v>
                </c:pt>
                <c:pt idx="7">
                  <c:v>21572</c:v>
                </c:pt>
                <c:pt idx="8">
                  <c:v>21572</c:v>
                </c:pt>
                <c:pt idx="9">
                  <c:v>17600</c:v>
                </c:pt>
                <c:pt idx="10">
                  <c:v>21572</c:v>
                </c:pt>
                <c:pt idx="11">
                  <c:v>21572</c:v>
                </c:pt>
                <c:pt idx="12">
                  <c:v>21555</c:v>
                </c:pt>
                <c:pt idx="13">
                  <c:v>21555</c:v>
                </c:pt>
                <c:pt idx="14">
                  <c:v>21555</c:v>
                </c:pt>
                <c:pt idx="15">
                  <c:v>21520</c:v>
                </c:pt>
                <c:pt idx="16">
                  <c:v>21512</c:v>
                </c:pt>
                <c:pt idx="17">
                  <c:v>21512</c:v>
                </c:pt>
                <c:pt idx="18">
                  <c:v>18897</c:v>
                </c:pt>
                <c:pt idx="19">
                  <c:v>6432</c:v>
                </c:pt>
                <c:pt idx="20">
                  <c:v>2593</c:v>
                </c:pt>
                <c:pt idx="21">
                  <c:v>1695</c:v>
                </c:pt>
                <c:pt idx="22">
                  <c:v>1105</c:v>
                </c:pt>
                <c:pt idx="23">
                  <c:v>283</c:v>
                </c:pt>
                <c:pt idx="24">
                  <c:v>432</c:v>
                </c:pt>
                <c:pt idx="25">
                  <c:v>67</c:v>
                </c:pt>
                <c:pt idx="26">
                  <c:v>37</c:v>
                </c:pt>
                <c:pt idx="27">
                  <c:v>11</c:v>
                </c:pt>
                <c:pt idx="28">
                  <c:v>33</c:v>
                </c:pt>
                <c:pt idx="29">
                  <c:v>11</c:v>
                </c:pt>
                <c:pt idx="30">
                  <c:v>22</c:v>
                </c:pt>
                <c:pt idx="31">
                  <c:v>44</c:v>
                </c:pt>
                <c:pt idx="32">
                  <c:v>22</c:v>
                </c:pt>
                <c:pt idx="33">
                  <c:v>11</c:v>
                </c:pt>
                <c:pt idx="34">
                  <c:v>11</c:v>
                </c:pt>
                <c:pt idx="35">
                  <c:v>22</c:v>
                </c:pt>
                <c:pt idx="36">
                  <c:v>11</c:v>
                </c:pt>
                <c:pt idx="37">
                  <c:v>11</c:v>
                </c:pt>
                <c:pt idx="38">
                  <c:v>11</c:v>
                </c:pt>
                <c:pt idx="39">
                  <c:v>10</c:v>
                </c:pt>
                <c:pt idx="40">
                  <c:v>8</c:v>
                </c:pt>
                <c:pt idx="41">
                  <c:v>8</c:v>
                </c:pt>
                <c:pt idx="42">
                  <c:v>8</c:v>
                </c:pt>
                <c:pt idx="43">
                  <c:v>8</c:v>
                </c:pt>
                <c:pt idx="44">
                  <c:v>100</c:v>
                </c:pt>
                <c:pt idx="45">
                  <c:v>50</c:v>
                </c:pt>
                <c:pt idx="46">
                  <c:v>25</c:v>
                </c:pt>
                <c:pt idx="47">
                  <c:v>2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9</c:f>
              <c:numCache>
                <c:formatCode>yyyy\-mm\-dd</c:formatCode>
                <c:ptCount val="48"/>
                <c:pt idx="0">
                  <c:v>45200</c:v>
                </c:pt>
                <c:pt idx="1">
                  <c:v>45207</c:v>
                </c:pt>
                <c:pt idx="2">
                  <c:v>45214</c:v>
                </c:pt>
                <c:pt idx="3">
                  <c:v>45221</c:v>
                </c:pt>
                <c:pt idx="4">
                  <c:v>45228</c:v>
                </c:pt>
                <c:pt idx="5">
                  <c:v>45235</c:v>
                </c:pt>
                <c:pt idx="6">
                  <c:v>45242</c:v>
                </c:pt>
                <c:pt idx="7">
                  <c:v>45249</c:v>
                </c:pt>
                <c:pt idx="8">
                  <c:v>45256</c:v>
                </c:pt>
                <c:pt idx="9">
                  <c:v>45263</c:v>
                </c:pt>
                <c:pt idx="10">
                  <c:v>45270</c:v>
                </c:pt>
                <c:pt idx="11">
                  <c:v>45277</c:v>
                </c:pt>
                <c:pt idx="12">
                  <c:v>45284</c:v>
                </c:pt>
                <c:pt idx="13">
                  <c:v>45291</c:v>
                </c:pt>
                <c:pt idx="14">
                  <c:v>45298</c:v>
                </c:pt>
                <c:pt idx="15">
                  <c:v>45305</c:v>
                </c:pt>
                <c:pt idx="16">
                  <c:v>45312</c:v>
                </c:pt>
                <c:pt idx="17">
                  <c:v>45319</c:v>
                </c:pt>
                <c:pt idx="18">
                  <c:v>45326</c:v>
                </c:pt>
                <c:pt idx="19">
                  <c:v>45333</c:v>
                </c:pt>
                <c:pt idx="20">
                  <c:v>45340</c:v>
                </c:pt>
                <c:pt idx="21">
                  <c:v>45347</c:v>
                </c:pt>
                <c:pt idx="22">
                  <c:v>45354</c:v>
                </c:pt>
                <c:pt idx="23">
                  <c:v>45361</c:v>
                </c:pt>
                <c:pt idx="24">
                  <c:v>45368</c:v>
                </c:pt>
                <c:pt idx="25">
                  <c:v>45375</c:v>
                </c:pt>
                <c:pt idx="26">
                  <c:v>45382</c:v>
                </c:pt>
                <c:pt idx="27">
                  <c:v>45389</c:v>
                </c:pt>
                <c:pt idx="28">
                  <c:v>45396</c:v>
                </c:pt>
                <c:pt idx="29">
                  <c:v>45403</c:v>
                </c:pt>
                <c:pt idx="30">
                  <c:v>45410</c:v>
                </c:pt>
                <c:pt idx="31">
                  <c:v>45417</c:v>
                </c:pt>
                <c:pt idx="32">
                  <c:v>45424</c:v>
                </c:pt>
                <c:pt idx="33">
                  <c:v>45438</c:v>
                </c:pt>
                <c:pt idx="34">
                  <c:v>45445</c:v>
                </c:pt>
                <c:pt idx="35">
                  <c:v>45452</c:v>
                </c:pt>
                <c:pt idx="36">
                  <c:v>45459</c:v>
                </c:pt>
                <c:pt idx="37">
                  <c:v>45466</c:v>
                </c:pt>
                <c:pt idx="38">
                  <c:v>45473</c:v>
                </c:pt>
                <c:pt idx="39">
                  <c:v>45487</c:v>
                </c:pt>
                <c:pt idx="40">
                  <c:v>45515</c:v>
                </c:pt>
                <c:pt idx="41">
                  <c:v>45557</c:v>
                </c:pt>
                <c:pt idx="42">
                  <c:v>45599</c:v>
                </c:pt>
                <c:pt idx="43">
                  <c:v>45641</c:v>
                </c:pt>
                <c:pt idx="44">
                  <c:v>45648</c:v>
                </c:pt>
                <c:pt idx="45">
                  <c:v>45655</c:v>
                </c:pt>
                <c:pt idx="46">
                  <c:v>45669</c:v>
                </c:pt>
                <c:pt idx="47">
                  <c:v>45676</c:v>
                </c:pt>
              </c:numCache>
            </c:numRef>
          </c:cat>
          <c:val>
            <c:numRef>
              <c:f>Sheet1!$F$2:$F$49</c:f>
              <c:numCache>
                <c:formatCode>General</c:formatCode>
                <c:ptCount val="4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B$2:$B$99</c:f>
              <c:numCache>
                <c:formatCode>General</c:formatCode>
                <c:ptCount val="98"/>
                <c:pt idx="0">
                  <c:v>206</c:v>
                </c:pt>
                <c:pt idx="1">
                  <c:v>84</c:v>
                </c:pt>
                <c:pt idx="2">
                  <c:v>125</c:v>
                </c:pt>
                <c:pt idx="3">
                  <c:v>121</c:v>
                </c:pt>
                <c:pt idx="4">
                  <c:v>51</c:v>
                </c:pt>
                <c:pt idx="5">
                  <c:v>550</c:v>
                </c:pt>
                <c:pt idx="6">
                  <c:v>354</c:v>
                </c:pt>
                <c:pt idx="7">
                  <c:v>336</c:v>
                </c:pt>
                <c:pt idx="8">
                  <c:v>194</c:v>
                </c:pt>
                <c:pt idx="9">
                  <c:v>332</c:v>
                </c:pt>
                <c:pt idx="10">
                  <c:v>362</c:v>
                </c:pt>
                <c:pt idx="11">
                  <c:v>470</c:v>
                </c:pt>
                <c:pt idx="12">
                  <c:v>749</c:v>
                </c:pt>
                <c:pt idx="13">
                  <c:v>664</c:v>
                </c:pt>
                <c:pt idx="14">
                  <c:v>214</c:v>
                </c:pt>
                <c:pt idx="15">
                  <c:v>602</c:v>
                </c:pt>
                <c:pt idx="16">
                  <c:v>612</c:v>
                </c:pt>
                <c:pt idx="17">
                  <c:v>413</c:v>
                </c:pt>
                <c:pt idx="18">
                  <c:v>374</c:v>
                </c:pt>
                <c:pt idx="19">
                  <c:v>388</c:v>
                </c:pt>
                <c:pt idx="20">
                  <c:v>445</c:v>
                </c:pt>
                <c:pt idx="21">
                  <c:v>211</c:v>
                </c:pt>
                <c:pt idx="22">
                  <c:v>527</c:v>
                </c:pt>
                <c:pt idx="23">
                  <c:v>360</c:v>
                </c:pt>
                <c:pt idx="24">
                  <c:v>286</c:v>
                </c:pt>
                <c:pt idx="25">
                  <c:v>228</c:v>
                </c:pt>
                <c:pt idx="26">
                  <c:v>327</c:v>
                </c:pt>
                <c:pt idx="27">
                  <c:v>360</c:v>
                </c:pt>
                <c:pt idx="28">
                  <c:v>422</c:v>
                </c:pt>
                <c:pt idx="29">
                  <c:v>496</c:v>
                </c:pt>
                <c:pt idx="30">
                  <c:v>467</c:v>
                </c:pt>
                <c:pt idx="31">
                  <c:v>201</c:v>
                </c:pt>
                <c:pt idx="32">
                  <c:v>385</c:v>
                </c:pt>
                <c:pt idx="33">
                  <c:v>378</c:v>
                </c:pt>
                <c:pt idx="34">
                  <c:v>297</c:v>
                </c:pt>
                <c:pt idx="35">
                  <c:v>508</c:v>
                </c:pt>
                <c:pt idx="36">
                  <c:v>468</c:v>
                </c:pt>
                <c:pt idx="37">
                  <c:v>477</c:v>
                </c:pt>
                <c:pt idx="38">
                  <c:v>382</c:v>
                </c:pt>
                <c:pt idx="39">
                  <c:v>567</c:v>
                </c:pt>
                <c:pt idx="40">
                  <c:v>5840</c:v>
                </c:pt>
                <c:pt idx="41">
                  <c:v>10128</c:v>
                </c:pt>
                <c:pt idx="42">
                  <c:v>11567</c:v>
                </c:pt>
                <c:pt idx="43">
                  <c:v>12777</c:v>
                </c:pt>
                <c:pt idx="44">
                  <c:v>16244</c:v>
                </c:pt>
                <c:pt idx="45">
                  <c:v>19817</c:v>
                </c:pt>
                <c:pt idx="46">
                  <c:v>37584</c:v>
                </c:pt>
                <c:pt idx="47">
                  <c:v>35732</c:v>
                </c:pt>
                <c:pt idx="48">
                  <c:v>55479</c:v>
                </c:pt>
                <c:pt idx="49">
                  <c:v>89738</c:v>
                </c:pt>
                <c:pt idx="50">
                  <c:v>220308</c:v>
                </c:pt>
                <c:pt idx="51">
                  <c:v>439869</c:v>
                </c:pt>
                <c:pt idx="52">
                  <c:v>60057</c:v>
                </c:pt>
                <c:pt idx="53">
                  <c:v>4681</c:v>
                </c:pt>
                <c:pt idx="54">
                  <c:v>1539</c:v>
                </c:pt>
                <c:pt idx="55">
                  <c:v>898</c:v>
                </c:pt>
                <c:pt idx="56">
                  <c:v>418</c:v>
                </c:pt>
                <c:pt idx="57">
                  <c:v>452</c:v>
                </c:pt>
                <c:pt idx="58">
                  <c:v>211</c:v>
                </c:pt>
                <c:pt idx="59">
                  <c:v>104</c:v>
                </c:pt>
                <c:pt idx="60">
                  <c:v>58</c:v>
                </c:pt>
                <c:pt idx="61">
                  <c:v>67</c:v>
                </c:pt>
                <c:pt idx="62">
                  <c:v>39</c:v>
                </c:pt>
                <c:pt idx="63">
                  <c:v>243</c:v>
                </c:pt>
                <c:pt idx="64">
                  <c:v>28</c:v>
                </c:pt>
                <c:pt idx="65">
                  <c:v>52</c:v>
                </c:pt>
                <c:pt idx="66">
                  <c:v>38</c:v>
                </c:pt>
                <c:pt idx="67">
                  <c:v>30</c:v>
                </c:pt>
                <c:pt idx="68">
                  <c:v>14</c:v>
                </c:pt>
                <c:pt idx="69">
                  <c:v>8</c:v>
                </c:pt>
                <c:pt idx="70">
                  <c:v>41</c:v>
                </c:pt>
                <c:pt idx="71">
                  <c:v>37</c:v>
                </c:pt>
                <c:pt idx="72">
                  <c:v>8</c:v>
                </c:pt>
                <c:pt idx="73">
                  <c:v>0</c:v>
                </c:pt>
                <c:pt idx="74">
                  <c:v>0</c:v>
                </c:pt>
                <c:pt idx="75">
                  <c:v>12</c:v>
                </c:pt>
                <c:pt idx="76">
                  <c:v>3</c:v>
                </c:pt>
                <c:pt idx="77">
                  <c:v>4</c:v>
                </c:pt>
                <c:pt idx="78">
                  <c:v>4</c:v>
                </c:pt>
                <c:pt idx="79">
                  <c:v>4</c:v>
                </c:pt>
                <c:pt idx="80">
                  <c:v>4</c:v>
                </c:pt>
                <c:pt idx="81">
                  <c:v>8</c:v>
                </c:pt>
                <c:pt idx="82">
                  <c:v>8</c:v>
                </c:pt>
                <c:pt idx="83">
                  <c:v>8</c:v>
                </c:pt>
                <c:pt idx="84">
                  <c:v>23</c:v>
                </c:pt>
                <c:pt idx="85">
                  <c:v>8</c:v>
                </c:pt>
                <c:pt idx="86">
                  <c:v>0</c:v>
                </c:pt>
                <c:pt idx="87">
                  <c:v>18</c:v>
                </c:pt>
                <c:pt idx="88">
                  <c:v>12</c:v>
                </c:pt>
                <c:pt idx="89">
                  <c:v>10</c:v>
                </c:pt>
                <c:pt idx="90">
                  <c:v>14</c:v>
                </c:pt>
                <c:pt idx="91">
                  <c:v>7</c:v>
                </c:pt>
                <c:pt idx="92">
                  <c:v>15</c:v>
                </c:pt>
                <c:pt idx="93">
                  <c:v>0</c:v>
                </c:pt>
                <c:pt idx="94">
                  <c:v>37</c:v>
                </c:pt>
                <c:pt idx="95">
                  <c:v>30</c:v>
                </c:pt>
                <c:pt idx="96">
                  <c:v>45</c:v>
                </c:pt>
                <c:pt idx="97">
                  <c:v>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C$2:$C$99</c:f>
              <c:numCache>
                <c:formatCode>General</c:formatCode>
                <c:ptCount val="98"/>
                <c:pt idx="0">
                  <c:v>457</c:v>
                </c:pt>
                <c:pt idx="1">
                  <c:v>1459</c:v>
                </c:pt>
                <c:pt idx="2">
                  <c:v>4286</c:v>
                </c:pt>
                <c:pt idx="3">
                  <c:v>8176</c:v>
                </c:pt>
                <c:pt idx="4">
                  <c:v>9296</c:v>
                </c:pt>
                <c:pt idx="5">
                  <c:v>9445</c:v>
                </c:pt>
                <c:pt idx="6">
                  <c:v>8229</c:v>
                </c:pt>
                <c:pt idx="7">
                  <c:v>9439</c:v>
                </c:pt>
                <c:pt idx="8">
                  <c:v>11206</c:v>
                </c:pt>
                <c:pt idx="9">
                  <c:v>9030</c:v>
                </c:pt>
                <c:pt idx="10">
                  <c:v>8743</c:v>
                </c:pt>
                <c:pt idx="11">
                  <c:v>8725</c:v>
                </c:pt>
                <c:pt idx="12">
                  <c:v>9464</c:v>
                </c:pt>
                <c:pt idx="13">
                  <c:v>11287</c:v>
                </c:pt>
                <c:pt idx="14">
                  <c:v>11568</c:v>
                </c:pt>
                <c:pt idx="15">
                  <c:v>11046</c:v>
                </c:pt>
                <c:pt idx="16">
                  <c:v>10182</c:v>
                </c:pt>
                <c:pt idx="17">
                  <c:v>11421</c:v>
                </c:pt>
                <c:pt idx="18">
                  <c:v>10499</c:v>
                </c:pt>
                <c:pt idx="19">
                  <c:v>10837</c:v>
                </c:pt>
                <c:pt idx="20">
                  <c:v>10721</c:v>
                </c:pt>
                <c:pt idx="21">
                  <c:v>10176</c:v>
                </c:pt>
                <c:pt idx="22">
                  <c:v>10362</c:v>
                </c:pt>
                <c:pt idx="23">
                  <c:v>10990</c:v>
                </c:pt>
                <c:pt idx="24">
                  <c:v>11643</c:v>
                </c:pt>
                <c:pt idx="25">
                  <c:v>10327</c:v>
                </c:pt>
                <c:pt idx="26">
                  <c:v>11101</c:v>
                </c:pt>
                <c:pt idx="27">
                  <c:v>10170</c:v>
                </c:pt>
                <c:pt idx="28">
                  <c:v>10786</c:v>
                </c:pt>
                <c:pt idx="29">
                  <c:v>9828</c:v>
                </c:pt>
                <c:pt idx="30">
                  <c:v>10625</c:v>
                </c:pt>
                <c:pt idx="31">
                  <c:v>10389</c:v>
                </c:pt>
                <c:pt idx="32">
                  <c:v>10680</c:v>
                </c:pt>
                <c:pt idx="33">
                  <c:v>10455</c:v>
                </c:pt>
                <c:pt idx="34">
                  <c:v>9900</c:v>
                </c:pt>
                <c:pt idx="35">
                  <c:v>8819</c:v>
                </c:pt>
                <c:pt idx="36">
                  <c:v>8191</c:v>
                </c:pt>
                <c:pt idx="37">
                  <c:v>8770</c:v>
                </c:pt>
                <c:pt idx="38">
                  <c:v>8585</c:v>
                </c:pt>
                <c:pt idx="39">
                  <c:v>8391</c:v>
                </c:pt>
                <c:pt idx="40">
                  <c:v>8294</c:v>
                </c:pt>
                <c:pt idx="41">
                  <c:v>8139</c:v>
                </c:pt>
                <c:pt idx="42">
                  <c:v>7766</c:v>
                </c:pt>
                <c:pt idx="43">
                  <c:v>7486</c:v>
                </c:pt>
                <c:pt idx="44">
                  <c:v>7667</c:v>
                </c:pt>
                <c:pt idx="45">
                  <c:v>7371</c:v>
                </c:pt>
                <c:pt idx="46">
                  <c:v>6286</c:v>
                </c:pt>
                <c:pt idx="47">
                  <c:v>6669</c:v>
                </c:pt>
                <c:pt idx="48">
                  <c:v>5818</c:v>
                </c:pt>
                <c:pt idx="49">
                  <c:v>4054</c:v>
                </c:pt>
                <c:pt idx="50">
                  <c:v>3195</c:v>
                </c:pt>
                <c:pt idx="51">
                  <c:v>4301</c:v>
                </c:pt>
                <c:pt idx="52">
                  <c:v>2397</c:v>
                </c:pt>
                <c:pt idx="53">
                  <c:v>489</c:v>
                </c:pt>
                <c:pt idx="54">
                  <c:v>177</c:v>
                </c:pt>
                <c:pt idx="55">
                  <c:v>21</c:v>
                </c:pt>
                <c:pt idx="56">
                  <c:v>37</c:v>
                </c:pt>
                <c:pt idx="57">
                  <c:v>44</c:v>
                </c:pt>
                <c:pt idx="58">
                  <c:v>35</c:v>
                </c:pt>
                <c:pt idx="59">
                  <c:v>86</c:v>
                </c:pt>
                <c:pt idx="60">
                  <c:v>51</c:v>
                </c:pt>
                <c:pt idx="61">
                  <c:v>34</c:v>
                </c:pt>
                <c:pt idx="62">
                  <c:v>61</c:v>
                </c:pt>
                <c:pt idx="63">
                  <c:v>22</c:v>
                </c:pt>
                <c:pt idx="64">
                  <c:v>44</c:v>
                </c:pt>
                <c:pt idx="65">
                  <c:v>-3</c:v>
                </c:pt>
                <c:pt idx="66">
                  <c:v>10</c:v>
                </c:pt>
                <c:pt idx="67">
                  <c:v>7</c:v>
                </c:pt>
                <c:pt idx="68">
                  <c:v>0</c:v>
                </c:pt>
                <c:pt idx="69">
                  <c:v>24</c:v>
                </c:pt>
                <c:pt idx="70">
                  <c:v>39</c:v>
                </c:pt>
                <c:pt idx="71">
                  <c:v>16</c:v>
                </c:pt>
                <c:pt idx="72">
                  <c:v>3</c:v>
                </c:pt>
                <c:pt idx="73">
                  <c:v>40</c:v>
                </c:pt>
                <c:pt idx="74">
                  <c:v>12</c:v>
                </c:pt>
                <c:pt idx="75">
                  <c:v>0</c:v>
                </c:pt>
                <c:pt idx="76">
                  <c:v>0</c:v>
                </c:pt>
                <c:pt idx="77">
                  <c:v>0</c:v>
                </c:pt>
                <c:pt idx="78">
                  <c:v>0</c:v>
                </c:pt>
                <c:pt idx="79">
                  <c:v>0</c:v>
                </c:pt>
                <c:pt idx="80">
                  <c:v>4</c:v>
                </c:pt>
                <c:pt idx="81">
                  <c:v>0</c:v>
                </c:pt>
                <c:pt idx="82">
                  <c:v>0</c:v>
                </c:pt>
                <c:pt idx="83">
                  <c:v>0</c:v>
                </c:pt>
                <c:pt idx="84">
                  <c:v>18</c:v>
                </c:pt>
                <c:pt idx="85">
                  <c:v>0</c:v>
                </c:pt>
                <c:pt idx="86">
                  <c:v>36</c:v>
                </c:pt>
                <c:pt idx="87">
                  <c:v>0</c:v>
                </c:pt>
                <c:pt idx="88">
                  <c:v>4</c:v>
                </c:pt>
                <c:pt idx="89">
                  <c:v>0</c:v>
                </c:pt>
                <c:pt idx="90">
                  <c:v>13</c:v>
                </c:pt>
                <c:pt idx="91">
                  <c:v>0</c:v>
                </c:pt>
                <c:pt idx="92">
                  <c:v>9</c:v>
                </c:pt>
                <c:pt idx="93">
                  <c:v>99</c:v>
                </c:pt>
                <c:pt idx="94">
                  <c:v>213</c:v>
                </c:pt>
                <c:pt idx="95">
                  <c:v>783</c:v>
                </c:pt>
                <c:pt idx="96">
                  <c:v>3837</c:v>
                </c:pt>
                <c:pt idx="97">
                  <c:v>633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D$2:$D$99</c:f>
              <c:numCache>
                <c:formatCode>General</c:formatCode>
                <c:ptCount val="98"/>
                <c:pt idx="0">
                  <c:v>663</c:v>
                </c:pt>
                <c:pt idx="1">
                  <c:v>1543</c:v>
                </c:pt>
                <c:pt idx="2">
                  <c:v>4411</c:v>
                </c:pt>
                <c:pt idx="3">
                  <c:v>8297</c:v>
                </c:pt>
                <c:pt idx="4">
                  <c:v>9347</c:v>
                </c:pt>
                <c:pt idx="5">
                  <c:v>9995</c:v>
                </c:pt>
                <c:pt idx="6">
                  <c:v>8583</c:v>
                </c:pt>
                <c:pt idx="7">
                  <c:v>9775</c:v>
                </c:pt>
                <c:pt idx="8">
                  <c:v>11400</c:v>
                </c:pt>
                <c:pt idx="9">
                  <c:v>9362</c:v>
                </c:pt>
                <c:pt idx="10">
                  <c:v>9105</c:v>
                </c:pt>
                <c:pt idx="11">
                  <c:v>9195</c:v>
                </c:pt>
                <c:pt idx="12">
                  <c:v>10213</c:v>
                </c:pt>
                <c:pt idx="13">
                  <c:v>11951</c:v>
                </c:pt>
                <c:pt idx="14">
                  <c:v>11782</c:v>
                </c:pt>
                <c:pt idx="15">
                  <c:v>11648</c:v>
                </c:pt>
                <c:pt idx="16">
                  <c:v>10794</c:v>
                </c:pt>
                <c:pt idx="17">
                  <c:v>11834</c:v>
                </c:pt>
                <c:pt idx="18">
                  <c:v>10873</c:v>
                </c:pt>
                <c:pt idx="19">
                  <c:v>11225</c:v>
                </c:pt>
                <c:pt idx="20">
                  <c:v>11166</c:v>
                </c:pt>
                <c:pt idx="21">
                  <c:v>10387</c:v>
                </c:pt>
                <c:pt idx="22">
                  <c:v>10889</c:v>
                </c:pt>
                <c:pt idx="23">
                  <c:v>11350</c:v>
                </c:pt>
                <c:pt idx="24">
                  <c:v>11929</c:v>
                </c:pt>
                <c:pt idx="25">
                  <c:v>10555</c:v>
                </c:pt>
                <c:pt idx="26">
                  <c:v>11428</c:v>
                </c:pt>
                <c:pt idx="27">
                  <c:v>10530</c:v>
                </c:pt>
                <c:pt idx="28">
                  <c:v>11208</c:v>
                </c:pt>
                <c:pt idx="29">
                  <c:v>10324</c:v>
                </c:pt>
                <c:pt idx="30">
                  <c:v>11092</c:v>
                </c:pt>
                <c:pt idx="31">
                  <c:v>10590</c:v>
                </c:pt>
                <c:pt idx="32">
                  <c:v>11065</c:v>
                </c:pt>
                <c:pt idx="33">
                  <c:v>10833</c:v>
                </c:pt>
                <c:pt idx="34">
                  <c:v>10197</c:v>
                </c:pt>
                <c:pt idx="35">
                  <c:v>9327</c:v>
                </c:pt>
                <c:pt idx="36">
                  <c:v>8659</c:v>
                </c:pt>
                <c:pt idx="37">
                  <c:v>9247</c:v>
                </c:pt>
                <c:pt idx="38">
                  <c:v>8967</c:v>
                </c:pt>
                <c:pt idx="39">
                  <c:v>8958</c:v>
                </c:pt>
                <c:pt idx="40">
                  <c:v>14134</c:v>
                </c:pt>
                <c:pt idx="41">
                  <c:v>18267</c:v>
                </c:pt>
                <c:pt idx="42">
                  <c:v>19333</c:v>
                </c:pt>
                <c:pt idx="43">
                  <c:v>20263</c:v>
                </c:pt>
                <c:pt idx="44">
                  <c:v>23911</c:v>
                </c:pt>
                <c:pt idx="45">
                  <c:v>27188</c:v>
                </c:pt>
                <c:pt idx="46">
                  <c:v>43870</c:v>
                </c:pt>
                <c:pt idx="47">
                  <c:v>42401</c:v>
                </c:pt>
                <c:pt idx="48">
                  <c:v>61297</c:v>
                </c:pt>
                <c:pt idx="49">
                  <c:v>93792</c:v>
                </c:pt>
                <c:pt idx="50">
                  <c:v>223503</c:v>
                </c:pt>
                <c:pt idx="51">
                  <c:v>444170</c:v>
                </c:pt>
                <c:pt idx="52">
                  <c:v>62454</c:v>
                </c:pt>
                <c:pt idx="53">
                  <c:v>5170</c:v>
                </c:pt>
                <c:pt idx="54">
                  <c:v>1716</c:v>
                </c:pt>
                <c:pt idx="55">
                  <c:v>919</c:v>
                </c:pt>
                <c:pt idx="56">
                  <c:v>455</c:v>
                </c:pt>
                <c:pt idx="57">
                  <c:v>496</c:v>
                </c:pt>
                <c:pt idx="58">
                  <c:v>246</c:v>
                </c:pt>
                <c:pt idx="59">
                  <c:v>190</c:v>
                </c:pt>
                <c:pt idx="60">
                  <c:v>109</c:v>
                </c:pt>
                <c:pt idx="61">
                  <c:v>101</c:v>
                </c:pt>
                <c:pt idx="62">
                  <c:v>100</c:v>
                </c:pt>
                <c:pt idx="63">
                  <c:v>265</c:v>
                </c:pt>
                <c:pt idx="64">
                  <c:v>72</c:v>
                </c:pt>
                <c:pt idx="65">
                  <c:v>49</c:v>
                </c:pt>
                <c:pt idx="66">
                  <c:v>48</c:v>
                </c:pt>
                <c:pt idx="67">
                  <c:v>37</c:v>
                </c:pt>
                <c:pt idx="68">
                  <c:v>14</c:v>
                </c:pt>
                <c:pt idx="69">
                  <c:v>32</c:v>
                </c:pt>
                <c:pt idx="70">
                  <c:v>80</c:v>
                </c:pt>
                <c:pt idx="71">
                  <c:v>53</c:v>
                </c:pt>
                <c:pt idx="72">
                  <c:v>11</c:v>
                </c:pt>
                <c:pt idx="73">
                  <c:v>40</c:v>
                </c:pt>
                <c:pt idx="74">
                  <c:v>12</c:v>
                </c:pt>
                <c:pt idx="75">
                  <c:v>12</c:v>
                </c:pt>
                <c:pt idx="76">
                  <c:v>3</c:v>
                </c:pt>
                <c:pt idx="77">
                  <c:v>4</c:v>
                </c:pt>
                <c:pt idx="78">
                  <c:v>4</c:v>
                </c:pt>
                <c:pt idx="79">
                  <c:v>4</c:v>
                </c:pt>
                <c:pt idx="80">
                  <c:v>8</c:v>
                </c:pt>
                <c:pt idx="81">
                  <c:v>8</c:v>
                </c:pt>
                <c:pt idx="82">
                  <c:v>8</c:v>
                </c:pt>
                <c:pt idx="83">
                  <c:v>8</c:v>
                </c:pt>
                <c:pt idx="84">
                  <c:v>41</c:v>
                </c:pt>
                <c:pt idx="85">
                  <c:v>8</c:v>
                </c:pt>
                <c:pt idx="86">
                  <c:v>36</c:v>
                </c:pt>
                <c:pt idx="87">
                  <c:v>18</c:v>
                </c:pt>
                <c:pt idx="88">
                  <c:v>16</c:v>
                </c:pt>
                <c:pt idx="89">
                  <c:v>10</c:v>
                </c:pt>
                <c:pt idx="90">
                  <c:v>27</c:v>
                </c:pt>
                <c:pt idx="91">
                  <c:v>7</c:v>
                </c:pt>
                <c:pt idx="92">
                  <c:v>24</c:v>
                </c:pt>
                <c:pt idx="93">
                  <c:v>99</c:v>
                </c:pt>
                <c:pt idx="94">
                  <c:v>250</c:v>
                </c:pt>
                <c:pt idx="95">
                  <c:v>813</c:v>
                </c:pt>
                <c:pt idx="96">
                  <c:v>3882</c:v>
                </c:pt>
                <c:pt idx="97">
                  <c:v>64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E$2:$E$99</c:f>
              <c:numCache>
                <c:formatCode>General</c:formatCode>
                <c:ptCount val="98"/>
                <c:pt idx="0">
                  <c:v>3323</c:v>
                </c:pt>
                <c:pt idx="1">
                  <c:v>4737</c:v>
                </c:pt>
                <c:pt idx="2">
                  <c:v>5671</c:v>
                </c:pt>
                <c:pt idx="3">
                  <c:v>6122</c:v>
                </c:pt>
                <c:pt idx="4">
                  <c:v>6625</c:v>
                </c:pt>
                <c:pt idx="5">
                  <c:v>7943</c:v>
                </c:pt>
                <c:pt idx="6">
                  <c:v>9000</c:v>
                </c:pt>
                <c:pt idx="7">
                  <c:v>9601</c:v>
                </c:pt>
                <c:pt idx="8">
                  <c:v>9729</c:v>
                </c:pt>
                <c:pt idx="9">
                  <c:v>9805</c:v>
                </c:pt>
                <c:pt idx="10">
                  <c:v>9946</c:v>
                </c:pt>
                <c:pt idx="11">
                  <c:v>10399</c:v>
                </c:pt>
                <c:pt idx="12">
                  <c:v>10715</c:v>
                </c:pt>
                <c:pt idx="13">
                  <c:v>10627</c:v>
                </c:pt>
                <c:pt idx="14">
                  <c:v>10884</c:v>
                </c:pt>
                <c:pt idx="15">
                  <c:v>11095</c:v>
                </c:pt>
                <c:pt idx="16">
                  <c:v>11331</c:v>
                </c:pt>
                <c:pt idx="17">
                  <c:v>11528</c:v>
                </c:pt>
                <c:pt idx="18">
                  <c:v>11262</c:v>
                </c:pt>
                <c:pt idx="19">
                  <c:v>11066</c:v>
                </c:pt>
                <c:pt idx="20">
                  <c:v>11331</c:v>
                </c:pt>
                <c:pt idx="21">
                  <c:v>11367</c:v>
                </c:pt>
                <c:pt idx="22">
                  <c:v>11251</c:v>
                </c:pt>
                <c:pt idx="23">
                  <c:v>11334</c:v>
                </c:pt>
                <c:pt idx="24">
                  <c:v>11266</c:v>
                </c:pt>
                <c:pt idx="25">
                  <c:v>11297</c:v>
                </c:pt>
                <c:pt idx="26">
                  <c:v>11331</c:v>
                </c:pt>
                <c:pt idx="27">
                  <c:v>11328</c:v>
                </c:pt>
                <c:pt idx="28">
                  <c:v>11181</c:v>
                </c:pt>
                <c:pt idx="29">
                  <c:v>11056</c:v>
                </c:pt>
                <c:pt idx="30">
                  <c:v>11069</c:v>
                </c:pt>
                <c:pt idx="31">
                  <c:v>10853</c:v>
                </c:pt>
                <c:pt idx="32">
                  <c:v>10687</c:v>
                </c:pt>
                <c:pt idx="33">
                  <c:v>10308</c:v>
                </c:pt>
                <c:pt idx="34">
                  <c:v>10136</c:v>
                </c:pt>
                <c:pt idx="35">
                  <c:v>9897</c:v>
                </c:pt>
                <c:pt idx="36">
                  <c:v>9624</c:v>
                </c:pt>
                <c:pt idx="37">
                  <c:v>9415</c:v>
                </c:pt>
                <c:pt idx="38">
                  <c:v>9185</c:v>
                </c:pt>
                <c:pt idx="39">
                  <c:v>9004</c:v>
                </c:pt>
                <c:pt idx="40">
                  <c:v>14157</c:v>
                </c:pt>
                <c:pt idx="41">
                  <c:v>18146</c:v>
                </c:pt>
                <c:pt idx="42">
                  <c:v>19560</c:v>
                </c:pt>
                <c:pt idx="43">
                  <c:v>20781</c:v>
                </c:pt>
                <c:pt idx="44">
                  <c:v>24029</c:v>
                </c:pt>
                <c:pt idx="45">
                  <c:v>27235</c:v>
                </c:pt>
                <c:pt idx="46">
                  <c:v>36687</c:v>
                </c:pt>
                <c:pt idx="47">
                  <c:v>36030</c:v>
                </c:pt>
                <c:pt idx="48">
                  <c:v>40451</c:v>
                </c:pt>
                <c:pt idx="49">
                  <c:v>40418</c:v>
                </c:pt>
                <c:pt idx="50">
                  <c:v>40891</c:v>
                </c:pt>
                <c:pt idx="51">
                  <c:v>39496</c:v>
                </c:pt>
                <c:pt idx="52">
                  <c:v>37302</c:v>
                </c:pt>
                <c:pt idx="53">
                  <c:v>16352</c:v>
                </c:pt>
                <c:pt idx="54">
                  <c:v>6076</c:v>
                </c:pt>
                <c:pt idx="55">
                  <c:v>3481</c:v>
                </c:pt>
                <c:pt idx="56">
                  <c:v>1037</c:v>
                </c:pt>
                <c:pt idx="57">
                  <c:v>1587</c:v>
                </c:pt>
                <c:pt idx="58">
                  <c:v>642</c:v>
                </c:pt>
                <c:pt idx="59">
                  <c:v>658</c:v>
                </c:pt>
                <c:pt idx="60">
                  <c:v>323</c:v>
                </c:pt>
                <c:pt idx="61">
                  <c:v>299</c:v>
                </c:pt>
                <c:pt idx="62">
                  <c:v>155</c:v>
                </c:pt>
                <c:pt idx="63">
                  <c:v>361</c:v>
                </c:pt>
                <c:pt idx="64">
                  <c:v>110</c:v>
                </c:pt>
                <c:pt idx="65">
                  <c:v>68</c:v>
                </c:pt>
                <c:pt idx="66">
                  <c:v>73</c:v>
                </c:pt>
                <c:pt idx="67">
                  <c:v>90</c:v>
                </c:pt>
                <c:pt idx="68">
                  <c:v>21</c:v>
                </c:pt>
                <c:pt idx="69">
                  <c:v>51</c:v>
                </c:pt>
                <c:pt idx="70">
                  <c:v>125</c:v>
                </c:pt>
                <c:pt idx="71">
                  <c:v>77</c:v>
                </c:pt>
                <c:pt idx="72">
                  <c:v>37</c:v>
                </c:pt>
                <c:pt idx="73">
                  <c:v>27</c:v>
                </c:pt>
                <c:pt idx="74">
                  <c:v>25</c:v>
                </c:pt>
                <c:pt idx="75">
                  <c:v>15</c:v>
                </c:pt>
                <c:pt idx="76">
                  <c:v>4</c:v>
                </c:pt>
                <c:pt idx="77">
                  <c:v>4</c:v>
                </c:pt>
                <c:pt idx="78">
                  <c:v>6</c:v>
                </c:pt>
                <c:pt idx="79">
                  <c:v>6</c:v>
                </c:pt>
                <c:pt idx="80">
                  <c:v>26</c:v>
                </c:pt>
                <c:pt idx="81">
                  <c:v>8</c:v>
                </c:pt>
                <c:pt idx="82">
                  <c:v>8</c:v>
                </c:pt>
                <c:pt idx="83">
                  <c:v>8</c:v>
                </c:pt>
                <c:pt idx="84">
                  <c:v>45</c:v>
                </c:pt>
                <c:pt idx="85">
                  <c:v>8</c:v>
                </c:pt>
                <c:pt idx="86">
                  <c:v>36</c:v>
                </c:pt>
                <c:pt idx="87">
                  <c:v>26</c:v>
                </c:pt>
                <c:pt idx="88">
                  <c:v>46</c:v>
                </c:pt>
                <c:pt idx="89">
                  <c:v>18</c:v>
                </c:pt>
                <c:pt idx="90">
                  <c:v>88</c:v>
                </c:pt>
                <c:pt idx="91">
                  <c:v>15</c:v>
                </c:pt>
                <c:pt idx="92">
                  <c:v>184</c:v>
                </c:pt>
                <c:pt idx="93">
                  <c:v>736</c:v>
                </c:pt>
                <c:pt idx="94">
                  <c:v>1719</c:v>
                </c:pt>
                <c:pt idx="95">
                  <c:v>2826</c:v>
                </c:pt>
                <c:pt idx="96">
                  <c:v>3940</c:v>
                </c:pt>
                <c:pt idx="97">
                  <c:v>523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9</c:f>
              <c:numCache>
                <c:formatCode>yyyy\-mm\-dd</c:formatCode>
                <c:ptCount val="9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43</c:v>
                </c:pt>
                <c:pt idx="84">
                  <c:v>45550</c:v>
                </c:pt>
                <c:pt idx="85">
                  <c:v>45557</c:v>
                </c:pt>
                <c:pt idx="86">
                  <c:v>45564</c:v>
                </c:pt>
                <c:pt idx="87">
                  <c:v>45571</c:v>
                </c:pt>
                <c:pt idx="88">
                  <c:v>45578</c:v>
                </c:pt>
                <c:pt idx="89">
                  <c:v>45592</c:v>
                </c:pt>
                <c:pt idx="90">
                  <c:v>45606</c:v>
                </c:pt>
                <c:pt idx="91">
                  <c:v>45613</c:v>
                </c:pt>
                <c:pt idx="92">
                  <c:v>45648</c:v>
                </c:pt>
                <c:pt idx="93">
                  <c:v>45655</c:v>
                </c:pt>
                <c:pt idx="94">
                  <c:v>45662</c:v>
                </c:pt>
                <c:pt idx="95">
                  <c:v>45669</c:v>
                </c:pt>
                <c:pt idx="96">
                  <c:v>45676</c:v>
                </c:pt>
                <c:pt idx="97">
                  <c:v>45683</c:v>
                </c:pt>
              </c:numCache>
            </c:numRef>
          </c:cat>
          <c:val>
            <c:numRef>
              <c:f>Sheet1!$F$2:$F$99</c:f>
              <c:numCache>
                <c:formatCode>General</c:formatCode>
                <c:ptCount val="98"/>
                <c:pt idx="0">
                  <c:v>0.36</c:v>
                </c:pt>
                <c:pt idx="1">
                  <c:v>7.0000000000000007E-2</c:v>
                </c:pt>
                <c:pt idx="2">
                  <c:v>0.06</c:v>
                </c:pt>
                <c:pt idx="3">
                  <c:v>0.03</c:v>
                </c:pt>
                <c:pt idx="4">
                  <c:v>0.01</c:v>
                </c:pt>
                <c:pt idx="5">
                  <c:v>0.06</c:v>
                </c:pt>
                <c:pt idx="6">
                  <c:v>0.06</c:v>
                </c:pt>
                <c:pt idx="7">
                  <c:v>0.06</c:v>
                </c:pt>
                <c:pt idx="8">
                  <c:v>0.02</c:v>
                </c:pt>
                <c:pt idx="9">
                  <c:v>0.05</c:v>
                </c:pt>
                <c:pt idx="10">
                  <c:v>0.05</c:v>
                </c:pt>
                <c:pt idx="11">
                  <c:v>7.0000000000000007E-2</c:v>
                </c:pt>
                <c:pt idx="12">
                  <c:v>0.08</c:v>
                </c:pt>
                <c:pt idx="13">
                  <c:v>7.0000000000000007E-2</c:v>
                </c:pt>
                <c:pt idx="14">
                  <c:v>0.03</c:v>
                </c:pt>
                <c:pt idx="15">
                  <c:v>0.06</c:v>
                </c:pt>
                <c:pt idx="16">
                  <c:v>0.06</c:v>
                </c:pt>
                <c:pt idx="17">
                  <c:v>0.05</c:v>
                </c:pt>
                <c:pt idx="18">
                  <c:v>0.06</c:v>
                </c:pt>
                <c:pt idx="19">
                  <c:v>0.05</c:v>
                </c:pt>
                <c:pt idx="20">
                  <c:v>0.05</c:v>
                </c:pt>
                <c:pt idx="21">
                  <c:v>0.05</c:v>
                </c:pt>
                <c:pt idx="22">
                  <c:v>7.0000000000000007E-2</c:v>
                </c:pt>
                <c:pt idx="23">
                  <c:v>0.08</c:v>
                </c:pt>
                <c:pt idx="24">
                  <c:v>0.06</c:v>
                </c:pt>
                <c:pt idx="25">
                  <c:v>0.05</c:v>
                </c:pt>
                <c:pt idx="26">
                  <c:v>7.0000000000000007E-2</c:v>
                </c:pt>
                <c:pt idx="27">
                  <c:v>0.06</c:v>
                </c:pt>
                <c:pt idx="28">
                  <c:v>0.05</c:v>
                </c:pt>
                <c:pt idx="29">
                  <c:v>0.06</c:v>
                </c:pt>
                <c:pt idx="30">
                  <c:v>0.05</c:v>
                </c:pt>
                <c:pt idx="31">
                  <c:v>0.04</c:v>
                </c:pt>
                <c:pt idx="32">
                  <c:v>0.04</c:v>
                </c:pt>
                <c:pt idx="33">
                  <c:v>0.04</c:v>
                </c:pt>
                <c:pt idx="34">
                  <c:v>0.03</c:v>
                </c:pt>
                <c:pt idx="35">
                  <c:v>0.06</c:v>
                </c:pt>
                <c:pt idx="36">
                  <c:v>0.06</c:v>
                </c:pt>
                <c:pt idx="37">
                  <c:v>0.08</c:v>
                </c:pt>
                <c:pt idx="38">
                  <c:v>0.05</c:v>
                </c:pt>
                <c:pt idx="39">
                  <c:v>7.0000000000000007E-2</c:v>
                </c:pt>
                <c:pt idx="40">
                  <c:v>0.45</c:v>
                </c:pt>
                <c:pt idx="41">
                  <c:v>0.59</c:v>
                </c:pt>
                <c:pt idx="42">
                  <c:v>0.63</c:v>
                </c:pt>
                <c:pt idx="43">
                  <c:v>0.66</c:v>
                </c:pt>
                <c:pt idx="44">
                  <c:v>0.71</c:v>
                </c:pt>
                <c:pt idx="45">
                  <c:v>0.76</c:v>
                </c:pt>
                <c:pt idx="46">
                  <c:v>0.88</c:v>
                </c:pt>
                <c:pt idx="47">
                  <c:v>0.86</c:v>
                </c:pt>
                <c:pt idx="48">
                  <c:v>0.92</c:v>
                </c:pt>
                <c:pt idx="49">
                  <c:v>0.96</c:v>
                </c:pt>
                <c:pt idx="50">
                  <c:v>0.99</c:v>
                </c:pt>
                <c:pt idx="51">
                  <c:v>1</c:v>
                </c:pt>
                <c:pt idx="52">
                  <c:v>0.99</c:v>
                </c:pt>
                <c:pt idx="53">
                  <c:v>0.98</c:v>
                </c:pt>
                <c:pt idx="54">
                  <c:v>0.95</c:v>
                </c:pt>
                <c:pt idx="55">
                  <c:v>0.99</c:v>
                </c:pt>
                <c:pt idx="56">
                  <c:v>0.95</c:v>
                </c:pt>
                <c:pt idx="57">
                  <c:v>0.98</c:v>
                </c:pt>
                <c:pt idx="58">
                  <c:v>0.94</c:v>
                </c:pt>
                <c:pt idx="59">
                  <c:v>0.82</c:v>
                </c:pt>
                <c:pt idx="60">
                  <c:v>0.8</c:v>
                </c:pt>
                <c:pt idx="61">
                  <c:v>0.82</c:v>
                </c:pt>
                <c:pt idx="62">
                  <c:v>0.67</c:v>
                </c:pt>
                <c:pt idx="63">
                  <c:v>0.95</c:v>
                </c:pt>
                <c:pt idx="64">
                  <c:v>0.7</c:v>
                </c:pt>
                <c:pt idx="65">
                  <c:v>1</c:v>
                </c:pt>
                <c:pt idx="66">
                  <c:v>1</c:v>
                </c:pt>
                <c:pt idx="67">
                  <c:v>0.8</c:v>
                </c:pt>
                <c:pt idx="68">
                  <c:v>1</c:v>
                </c:pt>
                <c:pt idx="69">
                  <c:v>0.5</c:v>
                </c:pt>
                <c:pt idx="70">
                  <c:v>0.79</c:v>
                </c:pt>
                <c:pt idx="71">
                  <c:v>0.71</c:v>
                </c:pt>
                <c:pt idx="72">
                  <c:v>0.67</c:v>
                </c:pt>
                <c:pt idx="73">
                  <c:v>0</c:v>
                </c:pt>
                <c:pt idx="74">
                  <c:v>0</c:v>
                </c:pt>
                <c:pt idx="75">
                  <c:v>1</c:v>
                </c:pt>
                <c:pt idx="76">
                  <c:v>1</c:v>
                </c:pt>
                <c:pt idx="77">
                  <c:v>1</c:v>
                </c:pt>
                <c:pt idx="78">
                  <c:v>1</c:v>
                </c:pt>
                <c:pt idx="79">
                  <c:v>1</c:v>
                </c:pt>
                <c:pt idx="80">
                  <c:v>0.5</c:v>
                </c:pt>
                <c:pt idx="81">
                  <c:v>1</c:v>
                </c:pt>
                <c:pt idx="82">
                  <c:v>1</c:v>
                </c:pt>
                <c:pt idx="83">
                  <c:v>1</c:v>
                </c:pt>
                <c:pt idx="84">
                  <c:v>0.67</c:v>
                </c:pt>
                <c:pt idx="85">
                  <c:v>1</c:v>
                </c:pt>
                <c:pt idx="86">
                  <c:v>0</c:v>
                </c:pt>
                <c:pt idx="87">
                  <c:v>1</c:v>
                </c:pt>
                <c:pt idx="88">
                  <c:v>0.5</c:v>
                </c:pt>
                <c:pt idx="89">
                  <c:v>1</c:v>
                </c:pt>
                <c:pt idx="90">
                  <c:v>0.67</c:v>
                </c:pt>
                <c:pt idx="91">
                  <c:v>1</c:v>
                </c:pt>
                <c:pt idx="92">
                  <c:v>0.5</c:v>
                </c:pt>
                <c:pt idx="93">
                  <c:v>0</c:v>
                </c:pt>
                <c:pt idx="94">
                  <c:v>0.24</c:v>
                </c:pt>
                <c:pt idx="95">
                  <c:v>0.04</c:v>
                </c:pt>
                <c:pt idx="96">
                  <c:v>0.01</c:v>
                </c:pt>
                <c:pt idx="97">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87</c:v>
                </c:pt>
                <c:pt idx="1">
                  <c:v>0</c:v>
                </c:pt>
                <c:pt idx="2">
                  <c:v>0</c:v>
                </c:pt>
                <c:pt idx="3">
                  <c:v>13</c:v>
                </c:pt>
                <c:pt idx="4">
                  <c:v>0</c:v>
                </c:pt>
                <c:pt idx="5">
                  <c:v>120</c:v>
                </c:pt>
                <c:pt idx="6">
                  <c:v>252</c:v>
                </c:pt>
                <c:pt idx="7">
                  <c:v>226</c:v>
                </c:pt>
                <c:pt idx="8">
                  <c:v>51</c:v>
                </c:pt>
                <c:pt idx="9">
                  <c:v>70</c:v>
                </c:pt>
                <c:pt idx="10">
                  <c:v>190</c:v>
                </c:pt>
                <c:pt idx="11">
                  <c:v>193</c:v>
                </c:pt>
                <c:pt idx="12">
                  <c:v>136</c:v>
                </c:pt>
                <c:pt idx="13">
                  <c:v>167</c:v>
                </c:pt>
                <c:pt idx="14">
                  <c:v>153</c:v>
                </c:pt>
                <c:pt idx="15">
                  <c:v>162</c:v>
                </c:pt>
                <c:pt idx="16">
                  <c:v>148</c:v>
                </c:pt>
                <c:pt idx="17">
                  <c:v>231</c:v>
                </c:pt>
                <c:pt idx="18">
                  <c:v>177</c:v>
                </c:pt>
                <c:pt idx="19">
                  <c:v>147</c:v>
                </c:pt>
                <c:pt idx="20">
                  <c:v>305</c:v>
                </c:pt>
                <c:pt idx="21">
                  <c:v>160</c:v>
                </c:pt>
                <c:pt idx="22">
                  <c:v>298</c:v>
                </c:pt>
                <c:pt idx="23">
                  <c:v>249</c:v>
                </c:pt>
                <c:pt idx="24">
                  <c:v>104</c:v>
                </c:pt>
                <c:pt idx="25">
                  <c:v>268</c:v>
                </c:pt>
                <c:pt idx="26">
                  <c:v>437</c:v>
                </c:pt>
                <c:pt idx="27">
                  <c:v>193</c:v>
                </c:pt>
                <c:pt idx="28">
                  <c:v>217</c:v>
                </c:pt>
                <c:pt idx="29">
                  <c:v>129</c:v>
                </c:pt>
                <c:pt idx="30">
                  <c:v>136</c:v>
                </c:pt>
                <c:pt idx="31">
                  <c:v>216</c:v>
                </c:pt>
                <c:pt idx="32">
                  <c:v>226</c:v>
                </c:pt>
                <c:pt idx="33">
                  <c:v>103</c:v>
                </c:pt>
                <c:pt idx="34">
                  <c:v>137</c:v>
                </c:pt>
                <c:pt idx="35">
                  <c:v>45</c:v>
                </c:pt>
                <c:pt idx="36">
                  <c:v>249</c:v>
                </c:pt>
                <c:pt idx="37">
                  <c:v>171</c:v>
                </c:pt>
                <c:pt idx="38">
                  <c:v>170</c:v>
                </c:pt>
                <c:pt idx="39">
                  <c:v>294</c:v>
                </c:pt>
                <c:pt idx="40">
                  <c:v>237</c:v>
                </c:pt>
                <c:pt idx="41">
                  <c:v>142</c:v>
                </c:pt>
                <c:pt idx="42">
                  <c:v>240</c:v>
                </c:pt>
                <c:pt idx="43">
                  <c:v>8</c:v>
                </c:pt>
                <c:pt idx="44">
                  <c:v>0</c:v>
                </c:pt>
                <c:pt idx="45">
                  <c:v>34</c:v>
                </c:pt>
                <c:pt idx="46">
                  <c:v>0</c:v>
                </c:pt>
                <c:pt idx="47">
                  <c:v>0</c:v>
                </c:pt>
                <c:pt idx="48">
                  <c:v>0</c:v>
                </c:pt>
                <c:pt idx="49">
                  <c:v>2398</c:v>
                </c:pt>
                <c:pt idx="50">
                  <c:v>4633</c:v>
                </c:pt>
                <c:pt idx="51">
                  <c:v>3451</c:v>
                </c:pt>
                <c:pt idx="52">
                  <c:v>2956</c:v>
                </c:pt>
                <c:pt idx="53">
                  <c:v>6004</c:v>
                </c:pt>
                <c:pt idx="54">
                  <c:v>4692</c:v>
                </c:pt>
                <c:pt idx="55">
                  <c:v>3709</c:v>
                </c:pt>
                <c:pt idx="56">
                  <c:v>1596</c:v>
                </c:pt>
                <c:pt idx="57">
                  <c:v>1103</c:v>
                </c:pt>
                <c:pt idx="58">
                  <c:v>569</c:v>
                </c:pt>
                <c:pt idx="59">
                  <c:v>540</c:v>
                </c:pt>
                <c:pt idx="60">
                  <c:v>475</c:v>
                </c:pt>
                <c:pt idx="61">
                  <c:v>136</c:v>
                </c:pt>
                <c:pt idx="62">
                  <c:v>133</c:v>
                </c:pt>
                <c:pt idx="63">
                  <c:v>138</c:v>
                </c:pt>
                <c:pt idx="64">
                  <c:v>66</c:v>
                </c:pt>
                <c:pt idx="65">
                  <c:v>10</c:v>
                </c:pt>
                <c:pt idx="66">
                  <c:v>27</c:v>
                </c:pt>
                <c:pt idx="67">
                  <c:v>23</c:v>
                </c:pt>
                <c:pt idx="68">
                  <c:v>41</c:v>
                </c:pt>
                <c:pt idx="69">
                  <c:v>5</c:v>
                </c:pt>
                <c:pt idx="70">
                  <c:v>3</c:v>
                </c:pt>
                <c:pt idx="71">
                  <c:v>22</c:v>
                </c:pt>
                <c:pt idx="72">
                  <c:v>66</c:v>
                </c:pt>
                <c:pt idx="73">
                  <c:v>0</c:v>
                </c:pt>
                <c:pt idx="74">
                  <c:v>0</c:v>
                </c:pt>
                <c:pt idx="75">
                  <c:v>38</c:v>
                </c:pt>
                <c:pt idx="76">
                  <c:v>8</c:v>
                </c:pt>
                <c:pt idx="77">
                  <c:v>12</c:v>
                </c:pt>
                <c:pt idx="78">
                  <c:v>35</c:v>
                </c:pt>
                <c:pt idx="79">
                  <c:v>52</c:v>
                </c:pt>
                <c:pt idx="80">
                  <c:v>30</c:v>
                </c:pt>
                <c:pt idx="81">
                  <c:v>4</c:v>
                </c:pt>
                <c:pt idx="82">
                  <c:v>6</c:v>
                </c:pt>
                <c:pt idx="83">
                  <c:v>4</c:v>
                </c:pt>
                <c:pt idx="84">
                  <c:v>0</c:v>
                </c:pt>
                <c:pt idx="85">
                  <c:v>0</c:v>
                </c:pt>
                <c:pt idx="86">
                  <c:v>0</c:v>
                </c:pt>
                <c:pt idx="87">
                  <c:v>0</c:v>
                </c:pt>
                <c:pt idx="88">
                  <c:v>0</c:v>
                </c:pt>
                <c:pt idx="89">
                  <c:v>0</c:v>
                </c:pt>
                <c:pt idx="90">
                  <c:v>19</c:v>
                </c:pt>
                <c:pt idx="91">
                  <c:v>0</c:v>
                </c:pt>
                <c:pt idx="92">
                  <c:v>12</c:v>
                </c:pt>
                <c:pt idx="93">
                  <c:v>3</c:v>
                </c:pt>
                <c:pt idx="94">
                  <c:v>15</c:v>
                </c:pt>
                <c:pt idx="95">
                  <c:v>0</c:v>
                </c:pt>
                <c:pt idx="96">
                  <c:v>10</c:v>
                </c:pt>
                <c:pt idx="97">
                  <c:v>0</c:v>
                </c:pt>
                <c:pt idx="98">
                  <c:v>0</c:v>
                </c:pt>
                <c:pt idx="99">
                  <c:v>0</c:v>
                </c:pt>
                <c:pt idx="100">
                  <c:v>6</c:v>
                </c:pt>
                <c:pt idx="101">
                  <c:v>6</c:v>
                </c:pt>
                <c:pt idx="102">
                  <c:v>0</c:v>
                </c:pt>
                <c:pt idx="103">
                  <c:v>0</c:v>
                </c:pt>
                <c:pt idx="104">
                  <c:v>0</c:v>
                </c:pt>
                <c:pt idx="105">
                  <c:v>10</c:v>
                </c:pt>
                <c:pt idx="106">
                  <c:v>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248</c:v>
                </c:pt>
                <c:pt idx="1">
                  <c:v>547</c:v>
                </c:pt>
                <c:pt idx="2">
                  <c:v>1108</c:v>
                </c:pt>
                <c:pt idx="3">
                  <c:v>1572</c:v>
                </c:pt>
                <c:pt idx="4">
                  <c:v>1677</c:v>
                </c:pt>
                <c:pt idx="5">
                  <c:v>2404</c:v>
                </c:pt>
                <c:pt idx="6">
                  <c:v>2232</c:v>
                </c:pt>
                <c:pt idx="7">
                  <c:v>2490</c:v>
                </c:pt>
                <c:pt idx="8">
                  <c:v>2944</c:v>
                </c:pt>
                <c:pt idx="9">
                  <c:v>2868</c:v>
                </c:pt>
                <c:pt idx="10">
                  <c:v>2827</c:v>
                </c:pt>
                <c:pt idx="11">
                  <c:v>2642</c:v>
                </c:pt>
                <c:pt idx="12">
                  <c:v>2803</c:v>
                </c:pt>
                <c:pt idx="13">
                  <c:v>3447</c:v>
                </c:pt>
                <c:pt idx="14">
                  <c:v>3865</c:v>
                </c:pt>
                <c:pt idx="15">
                  <c:v>3546</c:v>
                </c:pt>
                <c:pt idx="16">
                  <c:v>3847</c:v>
                </c:pt>
                <c:pt idx="17">
                  <c:v>4124</c:v>
                </c:pt>
                <c:pt idx="18">
                  <c:v>3727</c:v>
                </c:pt>
                <c:pt idx="19">
                  <c:v>3304</c:v>
                </c:pt>
                <c:pt idx="20">
                  <c:v>4005</c:v>
                </c:pt>
                <c:pt idx="21">
                  <c:v>4328</c:v>
                </c:pt>
                <c:pt idx="22">
                  <c:v>4533</c:v>
                </c:pt>
                <c:pt idx="23">
                  <c:v>4356</c:v>
                </c:pt>
                <c:pt idx="24">
                  <c:v>4783</c:v>
                </c:pt>
                <c:pt idx="25">
                  <c:v>4509</c:v>
                </c:pt>
                <c:pt idx="26">
                  <c:v>4622</c:v>
                </c:pt>
                <c:pt idx="27">
                  <c:v>4877</c:v>
                </c:pt>
                <c:pt idx="28">
                  <c:v>4966</c:v>
                </c:pt>
                <c:pt idx="29">
                  <c:v>5045</c:v>
                </c:pt>
                <c:pt idx="30">
                  <c:v>5151</c:v>
                </c:pt>
                <c:pt idx="31">
                  <c:v>5202</c:v>
                </c:pt>
                <c:pt idx="32">
                  <c:v>5709</c:v>
                </c:pt>
                <c:pt idx="33">
                  <c:v>5340</c:v>
                </c:pt>
                <c:pt idx="34">
                  <c:v>5094</c:v>
                </c:pt>
                <c:pt idx="35">
                  <c:v>4971</c:v>
                </c:pt>
                <c:pt idx="36">
                  <c:v>5324</c:v>
                </c:pt>
                <c:pt idx="37">
                  <c:v>5064</c:v>
                </c:pt>
                <c:pt idx="38">
                  <c:v>5164</c:v>
                </c:pt>
                <c:pt idx="39">
                  <c:v>5525</c:v>
                </c:pt>
                <c:pt idx="40">
                  <c:v>5695</c:v>
                </c:pt>
                <c:pt idx="41">
                  <c:v>5681</c:v>
                </c:pt>
                <c:pt idx="42">
                  <c:v>5032</c:v>
                </c:pt>
                <c:pt idx="43">
                  <c:v>5829</c:v>
                </c:pt>
                <c:pt idx="44">
                  <c:v>5865</c:v>
                </c:pt>
                <c:pt idx="45">
                  <c:v>5724</c:v>
                </c:pt>
                <c:pt idx="46">
                  <c:v>5072</c:v>
                </c:pt>
                <c:pt idx="47">
                  <c:v>5393</c:v>
                </c:pt>
                <c:pt idx="48">
                  <c:v>5595</c:v>
                </c:pt>
                <c:pt idx="49">
                  <c:v>3291</c:v>
                </c:pt>
                <c:pt idx="50">
                  <c:v>1821</c:v>
                </c:pt>
                <c:pt idx="51">
                  <c:v>1097</c:v>
                </c:pt>
                <c:pt idx="52">
                  <c:v>857</c:v>
                </c:pt>
                <c:pt idx="53">
                  <c:v>859</c:v>
                </c:pt>
                <c:pt idx="54">
                  <c:v>373</c:v>
                </c:pt>
                <c:pt idx="55">
                  <c:v>199</c:v>
                </c:pt>
                <c:pt idx="56">
                  <c:v>169</c:v>
                </c:pt>
                <c:pt idx="57">
                  <c:v>95</c:v>
                </c:pt>
                <c:pt idx="58">
                  <c:v>155</c:v>
                </c:pt>
                <c:pt idx="59">
                  <c:v>188</c:v>
                </c:pt>
                <c:pt idx="60">
                  <c:v>228</c:v>
                </c:pt>
                <c:pt idx="61">
                  <c:v>224</c:v>
                </c:pt>
                <c:pt idx="62">
                  <c:v>204</c:v>
                </c:pt>
                <c:pt idx="63">
                  <c:v>88</c:v>
                </c:pt>
                <c:pt idx="64">
                  <c:v>218</c:v>
                </c:pt>
                <c:pt idx="65">
                  <c:v>65</c:v>
                </c:pt>
                <c:pt idx="66">
                  <c:v>113</c:v>
                </c:pt>
                <c:pt idx="67">
                  <c:v>94</c:v>
                </c:pt>
                <c:pt idx="68">
                  <c:v>68</c:v>
                </c:pt>
                <c:pt idx="69">
                  <c:v>139</c:v>
                </c:pt>
                <c:pt idx="70">
                  <c:v>35</c:v>
                </c:pt>
                <c:pt idx="71">
                  <c:v>37</c:v>
                </c:pt>
                <c:pt idx="72">
                  <c:v>92</c:v>
                </c:pt>
                <c:pt idx="73">
                  <c:v>65</c:v>
                </c:pt>
                <c:pt idx="74">
                  <c:v>87</c:v>
                </c:pt>
                <c:pt idx="75">
                  <c:v>66</c:v>
                </c:pt>
                <c:pt idx="76">
                  <c:v>50</c:v>
                </c:pt>
                <c:pt idx="77">
                  <c:v>57</c:v>
                </c:pt>
                <c:pt idx="78">
                  <c:v>19</c:v>
                </c:pt>
                <c:pt idx="79">
                  <c:v>24</c:v>
                </c:pt>
                <c:pt idx="80">
                  <c:v>25</c:v>
                </c:pt>
                <c:pt idx="81">
                  <c:v>13</c:v>
                </c:pt>
                <c:pt idx="82">
                  <c:v>22</c:v>
                </c:pt>
                <c:pt idx="83">
                  <c:v>40</c:v>
                </c:pt>
                <c:pt idx="84">
                  <c:v>7</c:v>
                </c:pt>
                <c:pt idx="85">
                  <c:v>54</c:v>
                </c:pt>
                <c:pt idx="86">
                  <c:v>8</c:v>
                </c:pt>
                <c:pt idx="87">
                  <c:v>62</c:v>
                </c:pt>
                <c:pt idx="88">
                  <c:v>40</c:v>
                </c:pt>
                <c:pt idx="89">
                  <c:v>7</c:v>
                </c:pt>
                <c:pt idx="90">
                  <c:v>22</c:v>
                </c:pt>
                <c:pt idx="91">
                  <c:v>2</c:v>
                </c:pt>
                <c:pt idx="92">
                  <c:v>0</c:v>
                </c:pt>
                <c:pt idx="93">
                  <c:v>26</c:v>
                </c:pt>
                <c:pt idx="94">
                  <c:v>12</c:v>
                </c:pt>
                <c:pt idx="95">
                  <c:v>15</c:v>
                </c:pt>
                <c:pt idx="96">
                  <c:v>6</c:v>
                </c:pt>
                <c:pt idx="97">
                  <c:v>42</c:v>
                </c:pt>
                <c:pt idx="98">
                  <c:v>8</c:v>
                </c:pt>
                <c:pt idx="99">
                  <c:v>2</c:v>
                </c:pt>
                <c:pt idx="100">
                  <c:v>46</c:v>
                </c:pt>
                <c:pt idx="101">
                  <c:v>24</c:v>
                </c:pt>
                <c:pt idx="102">
                  <c:v>50</c:v>
                </c:pt>
                <c:pt idx="103">
                  <c:v>135</c:v>
                </c:pt>
                <c:pt idx="104">
                  <c:v>296</c:v>
                </c:pt>
                <c:pt idx="105">
                  <c:v>1517</c:v>
                </c:pt>
                <c:pt idx="106">
                  <c:v>27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D$2:$D$108</c:f>
              <c:numCache>
                <c:formatCode>General</c:formatCode>
                <c:ptCount val="107"/>
                <c:pt idx="0">
                  <c:v>335</c:v>
                </c:pt>
                <c:pt idx="1">
                  <c:v>547</c:v>
                </c:pt>
                <c:pt idx="2">
                  <c:v>1108</c:v>
                </c:pt>
                <c:pt idx="3">
                  <c:v>1585</c:v>
                </c:pt>
                <c:pt idx="4">
                  <c:v>1677</c:v>
                </c:pt>
                <c:pt idx="5">
                  <c:v>2524</c:v>
                </c:pt>
                <c:pt idx="6">
                  <c:v>2484</c:v>
                </c:pt>
                <c:pt idx="7">
                  <c:v>2716</c:v>
                </c:pt>
                <c:pt idx="8">
                  <c:v>2995</c:v>
                </c:pt>
                <c:pt idx="9">
                  <c:v>2938</c:v>
                </c:pt>
                <c:pt idx="10">
                  <c:v>3017</c:v>
                </c:pt>
                <c:pt idx="11">
                  <c:v>2835</c:v>
                </c:pt>
                <c:pt idx="12">
                  <c:v>2939</c:v>
                </c:pt>
                <c:pt idx="13">
                  <c:v>3614</c:v>
                </c:pt>
                <c:pt idx="14">
                  <c:v>4018</c:v>
                </c:pt>
                <c:pt idx="15">
                  <c:v>3708</c:v>
                </c:pt>
                <c:pt idx="16">
                  <c:v>3995</c:v>
                </c:pt>
                <c:pt idx="17">
                  <c:v>4355</c:v>
                </c:pt>
                <c:pt idx="18">
                  <c:v>3904</c:v>
                </c:pt>
                <c:pt idx="19">
                  <c:v>3451</c:v>
                </c:pt>
                <c:pt idx="20">
                  <c:v>4310</c:v>
                </c:pt>
                <c:pt idx="21">
                  <c:v>4488</c:v>
                </c:pt>
                <c:pt idx="22">
                  <c:v>4831</c:v>
                </c:pt>
                <c:pt idx="23">
                  <c:v>4605</c:v>
                </c:pt>
                <c:pt idx="24">
                  <c:v>4887</c:v>
                </c:pt>
                <c:pt idx="25">
                  <c:v>4777</c:v>
                </c:pt>
                <c:pt idx="26">
                  <c:v>5059</c:v>
                </c:pt>
                <c:pt idx="27">
                  <c:v>5070</c:v>
                </c:pt>
                <c:pt idx="28">
                  <c:v>5183</c:v>
                </c:pt>
                <c:pt idx="29">
                  <c:v>5174</c:v>
                </c:pt>
                <c:pt idx="30">
                  <c:v>5287</c:v>
                </c:pt>
                <c:pt idx="31">
                  <c:v>5418</c:v>
                </c:pt>
                <c:pt idx="32">
                  <c:v>5935</c:v>
                </c:pt>
                <c:pt idx="33">
                  <c:v>5443</c:v>
                </c:pt>
                <c:pt idx="34">
                  <c:v>5231</c:v>
                </c:pt>
                <c:pt idx="35">
                  <c:v>5016</c:v>
                </c:pt>
                <c:pt idx="36">
                  <c:v>5573</c:v>
                </c:pt>
                <c:pt idx="37">
                  <c:v>5235</c:v>
                </c:pt>
                <c:pt idx="38">
                  <c:v>5334</c:v>
                </c:pt>
                <c:pt idx="39">
                  <c:v>5819</c:v>
                </c:pt>
                <c:pt idx="40">
                  <c:v>5932</c:v>
                </c:pt>
                <c:pt idx="41">
                  <c:v>5823</c:v>
                </c:pt>
                <c:pt idx="42">
                  <c:v>5272</c:v>
                </c:pt>
                <c:pt idx="43">
                  <c:v>5837</c:v>
                </c:pt>
                <c:pt idx="44">
                  <c:v>5865</c:v>
                </c:pt>
                <c:pt idx="45">
                  <c:v>5758</c:v>
                </c:pt>
                <c:pt idx="46">
                  <c:v>5072</c:v>
                </c:pt>
                <c:pt idx="47">
                  <c:v>5393</c:v>
                </c:pt>
                <c:pt idx="48">
                  <c:v>5595</c:v>
                </c:pt>
                <c:pt idx="49">
                  <c:v>5689</c:v>
                </c:pt>
                <c:pt idx="50">
                  <c:v>6454</c:v>
                </c:pt>
                <c:pt idx="51">
                  <c:v>4548</c:v>
                </c:pt>
                <c:pt idx="52">
                  <c:v>3813</c:v>
                </c:pt>
                <c:pt idx="53">
                  <c:v>6863</c:v>
                </c:pt>
                <c:pt idx="54">
                  <c:v>5065</c:v>
                </c:pt>
                <c:pt idx="55">
                  <c:v>3908</c:v>
                </c:pt>
                <c:pt idx="56">
                  <c:v>1765</c:v>
                </c:pt>
                <c:pt idx="57">
                  <c:v>1198</c:v>
                </c:pt>
                <c:pt idx="58">
                  <c:v>724</c:v>
                </c:pt>
                <c:pt idx="59">
                  <c:v>728</c:v>
                </c:pt>
                <c:pt idx="60">
                  <c:v>703</c:v>
                </c:pt>
                <c:pt idx="61">
                  <c:v>360</c:v>
                </c:pt>
                <c:pt idx="62">
                  <c:v>337</c:v>
                </c:pt>
                <c:pt idx="63">
                  <c:v>226</c:v>
                </c:pt>
                <c:pt idx="64">
                  <c:v>284</c:v>
                </c:pt>
                <c:pt idx="65">
                  <c:v>75</c:v>
                </c:pt>
                <c:pt idx="66">
                  <c:v>140</c:v>
                </c:pt>
                <c:pt idx="67">
                  <c:v>117</c:v>
                </c:pt>
                <c:pt idx="68">
                  <c:v>109</c:v>
                </c:pt>
                <c:pt idx="69">
                  <c:v>144</c:v>
                </c:pt>
                <c:pt idx="70">
                  <c:v>38</c:v>
                </c:pt>
                <c:pt idx="71">
                  <c:v>59</c:v>
                </c:pt>
                <c:pt idx="72">
                  <c:v>158</c:v>
                </c:pt>
                <c:pt idx="73">
                  <c:v>65</c:v>
                </c:pt>
                <c:pt idx="74">
                  <c:v>87</c:v>
                </c:pt>
                <c:pt idx="75">
                  <c:v>104</c:v>
                </c:pt>
                <c:pt idx="76">
                  <c:v>58</c:v>
                </c:pt>
                <c:pt idx="77">
                  <c:v>69</c:v>
                </c:pt>
                <c:pt idx="78">
                  <c:v>54</c:v>
                </c:pt>
                <c:pt idx="79">
                  <c:v>76</c:v>
                </c:pt>
                <c:pt idx="80">
                  <c:v>55</c:v>
                </c:pt>
                <c:pt idx="81">
                  <c:v>17</c:v>
                </c:pt>
                <c:pt idx="82">
                  <c:v>28</c:v>
                </c:pt>
                <c:pt idx="83">
                  <c:v>44</c:v>
                </c:pt>
                <c:pt idx="84">
                  <c:v>7</c:v>
                </c:pt>
                <c:pt idx="85">
                  <c:v>54</c:v>
                </c:pt>
                <c:pt idx="86">
                  <c:v>8</c:v>
                </c:pt>
                <c:pt idx="87">
                  <c:v>62</c:v>
                </c:pt>
                <c:pt idx="88">
                  <c:v>40</c:v>
                </c:pt>
                <c:pt idx="89">
                  <c:v>7</c:v>
                </c:pt>
                <c:pt idx="90">
                  <c:v>41</c:v>
                </c:pt>
                <c:pt idx="91">
                  <c:v>2</c:v>
                </c:pt>
                <c:pt idx="92">
                  <c:v>12</c:v>
                </c:pt>
                <c:pt idx="93">
                  <c:v>29</c:v>
                </c:pt>
                <c:pt idx="94">
                  <c:v>27</c:v>
                </c:pt>
                <c:pt idx="95">
                  <c:v>15</c:v>
                </c:pt>
                <c:pt idx="96">
                  <c:v>16</c:v>
                </c:pt>
                <c:pt idx="97">
                  <c:v>42</c:v>
                </c:pt>
                <c:pt idx="98">
                  <c:v>8</c:v>
                </c:pt>
                <c:pt idx="99">
                  <c:v>2</c:v>
                </c:pt>
                <c:pt idx="100">
                  <c:v>52</c:v>
                </c:pt>
                <c:pt idx="101">
                  <c:v>30</c:v>
                </c:pt>
                <c:pt idx="102">
                  <c:v>50</c:v>
                </c:pt>
                <c:pt idx="103">
                  <c:v>135</c:v>
                </c:pt>
                <c:pt idx="104">
                  <c:v>296</c:v>
                </c:pt>
                <c:pt idx="105">
                  <c:v>1527</c:v>
                </c:pt>
                <c:pt idx="106">
                  <c:v>277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E$2:$E$108</c:f>
              <c:numCache>
                <c:formatCode>General</c:formatCode>
                <c:ptCount val="107"/>
                <c:pt idx="0">
                  <c:v>885</c:v>
                </c:pt>
                <c:pt idx="1">
                  <c:v>1026</c:v>
                </c:pt>
                <c:pt idx="2">
                  <c:v>1336</c:v>
                </c:pt>
                <c:pt idx="3">
                  <c:v>1514</c:v>
                </c:pt>
                <c:pt idx="4">
                  <c:v>1705</c:v>
                </c:pt>
                <c:pt idx="5">
                  <c:v>2038</c:v>
                </c:pt>
                <c:pt idx="6">
                  <c:v>2401</c:v>
                </c:pt>
                <c:pt idx="7">
                  <c:v>2675</c:v>
                </c:pt>
                <c:pt idx="8">
                  <c:v>2840</c:v>
                </c:pt>
                <c:pt idx="9">
                  <c:v>3024</c:v>
                </c:pt>
                <c:pt idx="10">
                  <c:v>3122</c:v>
                </c:pt>
                <c:pt idx="11">
                  <c:v>3427</c:v>
                </c:pt>
                <c:pt idx="12">
                  <c:v>3466</c:v>
                </c:pt>
                <c:pt idx="13">
                  <c:v>3633</c:v>
                </c:pt>
                <c:pt idx="14">
                  <c:v>3844</c:v>
                </c:pt>
                <c:pt idx="15">
                  <c:v>3901</c:v>
                </c:pt>
                <c:pt idx="16">
                  <c:v>3932</c:v>
                </c:pt>
                <c:pt idx="17">
                  <c:v>4021</c:v>
                </c:pt>
                <c:pt idx="18">
                  <c:v>4127</c:v>
                </c:pt>
                <c:pt idx="19">
                  <c:v>4146</c:v>
                </c:pt>
                <c:pt idx="20">
                  <c:v>4362</c:v>
                </c:pt>
                <c:pt idx="21">
                  <c:v>4393</c:v>
                </c:pt>
                <c:pt idx="22">
                  <c:v>4532</c:v>
                </c:pt>
                <c:pt idx="23">
                  <c:v>4629</c:v>
                </c:pt>
                <c:pt idx="24">
                  <c:v>4677</c:v>
                </c:pt>
                <c:pt idx="25">
                  <c:v>4905</c:v>
                </c:pt>
                <c:pt idx="26">
                  <c:v>5013</c:v>
                </c:pt>
                <c:pt idx="27">
                  <c:v>5059</c:v>
                </c:pt>
                <c:pt idx="28">
                  <c:v>5231</c:v>
                </c:pt>
                <c:pt idx="29">
                  <c:v>5186</c:v>
                </c:pt>
                <c:pt idx="30">
                  <c:v>5361</c:v>
                </c:pt>
                <c:pt idx="31">
                  <c:v>5416</c:v>
                </c:pt>
                <c:pt idx="32">
                  <c:v>5453</c:v>
                </c:pt>
                <c:pt idx="33">
                  <c:v>5450</c:v>
                </c:pt>
                <c:pt idx="34">
                  <c:v>5338</c:v>
                </c:pt>
                <c:pt idx="35">
                  <c:v>5446</c:v>
                </c:pt>
                <c:pt idx="36">
                  <c:v>5517</c:v>
                </c:pt>
                <c:pt idx="37">
                  <c:v>5440</c:v>
                </c:pt>
                <c:pt idx="38">
                  <c:v>5514</c:v>
                </c:pt>
                <c:pt idx="39">
                  <c:v>5599</c:v>
                </c:pt>
                <c:pt idx="40">
                  <c:v>5717</c:v>
                </c:pt>
                <c:pt idx="41">
                  <c:v>5694</c:v>
                </c:pt>
                <c:pt idx="42">
                  <c:v>5721</c:v>
                </c:pt>
                <c:pt idx="43">
                  <c:v>5733</c:v>
                </c:pt>
                <c:pt idx="44">
                  <c:v>5698</c:v>
                </c:pt>
                <c:pt idx="45">
                  <c:v>5645</c:v>
                </c:pt>
                <c:pt idx="46">
                  <c:v>5624</c:v>
                </c:pt>
                <c:pt idx="47">
                  <c:v>5604</c:v>
                </c:pt>
                <c:pt idx="48">
                  <c:v>5562</c:v>
                </c:pt>
                <c:pt idx="49">
                  <c:v>5540</c:v>
                </c:pt>
                <c:pt idx="50">
                  <c:v>5411</c:v>
                </c:pt>
                <c:pt idx="51">
                  <c:v>5522</c:v>
                </c:pt>
                <c:pt idx="52">
                  <c:v>4831</c:v>
                </c:pt>
                <c:pt idx="53">
                  <c:v>5596</c:v>
                </c:pt>
                <c:pt idx="54">
                  <c:v>5596</c:v>
                </c:pt>
                <c:pt idx="55">
                  <c:v>5596</c:v>
                </c:pt>
                <c:pt idx="56">
                  <c:v>5616</c:v>
                </c:pt>
                <c:pt idx="57">
                  <c:v>5047</c:v>
                </c:pt>
                <c:pt idx="58">
                  <c:v>2506</c:v>
                </c:pt>
                <c:pt idx="59">
                  <c:v>2865</c:v>
                </c:pt>
                <c:pt idx="60">
                  <c:v>2260</c:v>
                </c:pt>
                <c:pt idx="61">
                  <c:v>848</c:v>
                </c:pt>
                <c:pt idx="62">
                  <c:v>534</c:v>
                </c:pt>
                <c:pt idx="63">
                  <c:v>491</c:v>
                </c:pt>
                <c:pt idx="64">
                  <c:v>279</c:v>
                </c:pt>
                <c:pt idx="65">
                  <c:v>182</c:v>
                </c:pt>
                <c:pt idx="66">
                  <c:v>161</c:v>
                </c:pt>
                <c:pt idx="67">
                  <c:v>149</c:v>
                </c:pt>
                <c:pt idx="68">
                  <c:v>125</c:v>
                </c:pt>
                <c:pt idx="69">
                  <c:v>103</c:v>
                </c:pt>
                <c:pt idx="70">
                  <c:v>99</c:v>
                </c:pt>
                <c:pt idx="71">
                  <c:v>63</c:v>
                </c:pt>
                <c:pt idx="72">
                  <c:v>79</c:v>
                </c:pt>
                <c:pt idx="73">
                  <c:v>82</c:v>
                </c:pt>
                <c:pt idx="74">
                  <c:v>68</c:v>
                </c:pt>
                <c:pt idx="75">
                  <c:v>64</c:v>
                </c:pt>
                <c:pt idx="76">
                  <c:v>88</c:v>
                </c:pt>
                <c:pt idx="77">
                  <c:v>59</c:v>
                </c:pt>
                <c:pt idx="78">
                  <c:v>60</c:v>
                </c:pt>
                <c:pt idx="79">
                  <c:v>43</c:v>
                </c:pt>
                <c:pt idx="80">
                  <c:v>43</c:v>
                </c:pt>
                <c:pt idx="81">
                  <c:v>40</c:v>
                </c:pt>
                <c:pt idx="82">
                  <c:v>37</c:v>
                </c:pt>
                <c:pt idx="83">
                  <c:v>49</c:v>
                </c:pt>
                <c:pt idx="84">
                  <c:v>35</c:v>
                </c:pt>
                <c:pt idx="85">
                  <c:v>37</c:v>
                </c:pt>
                <c:pt idx="86">
                  <c:v>36</c:v>
                </c:pt>
                <c:pt idx="87">
                  <c:v>37</c:v>
                </c:pt>
                <c:pt idx="88">
                  <c:v>37</c:v>
                </c:pt>
                <c:pt idx="89">
                  <c:v>39</c:v>
                </c:pt>
                <c:pt idx="90">
                  <c:v>55</c:v>
                </c:pt>
                <c:pt idx="91">
                  <c:v>4</c:v>
                </c:pt>
                <c:pt idx="92">
                  <c:v>16</c:v>
                </c:pt>
                <c:pt idx="93">
                  <c:v>30</c:v>
                </c:pt>
                <c:pt idx="94">
                  <c:v>28</c:v>
                </c:pt>
                <c:pt idx="95">
                  <c:v>47</c:v>
                </c:pt>
                <c:pt idx="96">
                  <c:v>39</c:v>
                </c:pt>
                <c:pt idx="97">
                  <c:v>51</c:v>
                </c:pt>
                <c:pt idx="98">
                  <c:v>53</c:v>
                </c:pt>
                <c:pt idx="99">
                  <c:v>54</c:v>
                </c:pt>
                <c:pt idx="100">
                  <c:v>74</c:v>
                </c:pt>
                <c:pt idx="101">
                  <c:v>105</c:v>
                </c:pt>
                <c:pt idx="102">
                  <c:v>281</c:v>
                </c:pt>
                <c:pt idx="103">
                  <c:v>622</c:v>
                </c:pt>
                <c:pt idx="104">
                  <c:v>1072</c:v>
                </c:pt>
                <c:pt idx="105">
                  <c:v>1562</c:v>
                </c:pt>
                <c:pt idx="106">
                  <c:v>2016</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F$2:$F$108</c:f>
              <c:numCache>
                <c:formatCode>General</c:formatCode>
                <c:ptCount val="107"/>
                <c:pt idx="0">
                  <c:v>0.26</c:v>
                </c:pt>
                <c:pt idx="1">
                  <c:v>0</c:v>
                </c:pt>
                <c:pt idx="2">
                  <c:v>0</c:v>
                </c:pt>
                <c:pt idx="3">
                  <c:v>0.01</c:v>
                </c:pt>
                <c:pt idx="4">
                  <c:v>0</c:v>
                </c:pt>
                <c:pt idx="5">
                  <c:v>0.05</c:v>
                </c:pt>
                <c:pt idx="6">
                  <c:v>0.13</c:v>
                </c:pt>
                <c:pt idx="7">
                  <c:v>0.13</c:v>
                </c:pt>
                <c:pt idx="8">
                  <c:v>0.05</c:v>
                </c:pt>
                <c:pt idx="9">
                  <c:v>7.0000000000000007E-2</c:v>
                </c:pt>
                <c:pt idx="10">
                  <c:v>0.11</c:v>
                </c:pt>
                <c:pt idx="11">
                  <c:v>0.1</c:v>
                </c:pt>
                <c:pt idx="12">
                  <c:v>0.1</c:v>
                </c:pt>
                <c:pt idx="13">
                  <c:v>0.09</c:v>
                </c:pt>
                <c:pt idx="14">
                  <c:v>0.05</c:v>
                </c:pt>
                <c:pt idx="15">
                  <c:v>7.0000000000000007E-2</c:v>
                </c:pt>
                <c:pt idx="16">
                  <c:v>0.06</c:v>
                </c:pt>
                <c:pt idx="17">
                  <c:v>0.09</c:v>
                </c:pt>
                <c:pt idx="18">
                  <c:v>0.08</c:v>
                </c:pt>
                <c:pt idx="19">
                  <c:v>7.0000000000000007E-2</c:v>
                </c:pt>
                <c:pt idx="20">
                  <c:v>0.11</c:v>
                </c:pt>
                <c:pt idx="21">
                  <c:v>0.06</c:v>
                </c:pt>
                <c:pt idx="22">
                  <c:v>0.1</c:v>
                </c:pt>
                <c:pt idx="23">
                  <c:v>0.09</c:v>
                </c:pt>
                <c:pt idx="24">
                  <c:v>0.05</c:v>
                </c:pt>
                <c:pt idx="25">
                  <c:v>0.09</c:v>
                </c:pt>
                <c:pt idx="26">
                  <c:v>0.12</c:v>
                </c:pt>
                <c:pt idx="27">
                  <c:v>0.06</c:v>
                </c:pt>
                <c:pt idx="28">
                  <c:v>7.0000000000000007E-2</c:v>
                </c:pt>
                <c:pt idx="29">
                  <c:v>7.0000000000000007E-2</c:v>
                </c:pt>
                <c:pt idx="30">
                  <c:v>0.04</c:v>
                </c:pt>
                <c:pt idx="31">
                  <c:v>7.0000000000000007E-2</c:v>
                </c:pt>
                <c:pt idx="32">
                  <c:v>0.06</c:v>
                </c:pt>
                <c:pt idx="33">
                  <c:v>0.03</c:v>
                </c:pt>
                <c:pt idx="34">
                  <c:v>0.03</c:v>
                </c:pt>
                <c:pt idx="35">
                  <c:v>0.03</c:v>
                </c:pt>
                <c:pt idx="36">
                  <c:v>7.0000000000000007E-2</c:v>
                </c:pt>
                <c:pt idx="37">
                  <c:v>0.05</c:v>
                </c:pt>
                <c:pt idx="38">
                  <c:v>0.06</c:v>
                </c:pt>
                <c:pt idx="39">
                  <c:v>7.0000000000000007E-2</c:v>
                </c:pt>
                <c:pt idx="40">
                  <c:v>0.06</c:v>
                </c:pt>
                <c:pt idx="41">
                  <c:v>0.05</c:v>
                </c:pt>
                <c:pt idx="42">
                  <c:v>0.06</c:v>
                </c:pt>
                <c:pt idx="43">
                  <c:v>0.01</c:v>
                </c:pt>
                <c:pt idx="44">
                  <c:v>0</c:v>
                </c:pt>
                <c:pt idx="45">
                  <c:v>0.02</c:v>
                </c:pt>
                <c:pt idx="46">
                  <c:v>0</c:v>
                </c:pt>
                <c:pt idx="47">
                  <c:v>0</c:v>
                </c:pt>
                <c:pt idx="48">
                  <c:v>0</c:v>
                </c:pt>
                <c:pt idx="49">
                  <c:v>0.47</c:v>
                </c:pt>
                <c:pt idx="50">
                  <c:v>0.76</c:v>
                </c:pt>
                <c:pt idx="51">
                  <c:v>0.76</c:v>
                </c:pt>
                <c:pt idx="52">
                  <c:v>0.81</c:v>
                </c:pt>
                <c:pt idx="53">
                  <c:v>0.9</c:v>
                </c:pt>
                <c:pt idx="54">
                  <c:v>0.94</c:v>
                </c:pt>
                <c:pt idx="55">
                  <c:v>0.97</c:v>
                </c:pt>
                <c:pt idx="56">
                  <c:v>0.94</c:v>
                </c:pt>
                <c:pt idx="57">
                  <c:v>0.95</c:v>
                </c:pt>
                <c:pt idx="58">
                  <c:v>0.83</c:v>
                </c:pt>
                <c:pt idx="59">
                  <c:v>0.81</c:v>
                </c:pt>
                <c:pt idx="60">
                  <c:v>0.72</c:v>
                </c:pt>
                <c:pt idx="61">
                  <c:v>0.43</c:v>
                </c:pt>
                <c:pt idx="62">
                  <c:v>0.42</c:v>
                </c:pt>
                <c:pt idx="63">
                  <c:v>0.71</c:v>
                </c:pt>
                <c:pt idx="64">
                  <c:v>0.37</c:v>
                </c:pt>
                <c:pt idx="65">
                  <c:v>0.18</c:v>
                </c:pt>
                <c:pt idx="66">
                  <c:v>0.2</c:v>
                </c:pt>
                <c:pt idx="67">
                  <c:v>0.19</c:v>
                </c:pt>
                <c:pt idx="68">
                  <c:v>0.48</c:v>
                </c:pt>
                <c:pt idx="69">
                  <c:v>0.1</c:v>
                </c:pt>
                <c:pt idx="70">
                  <c:v>0.1</c:v>
                </c:pt>
                <c:pt idx="71">
                  <c:v>0.38</c:v>
                </c:pt>
                <c:pt idx="72">
                  <c:v>0.48</c:v>
                </c:pt>
                <c:pt idx="73">
                  <c:v>0</c:v>
                </c:pt>
                <c:pt idx="74">
                  <c:v>0</c:v>
                </c:pt>
                <c:pt idx="75">
                  <c:v>0.56000000000000005</c:v>
                </c:pt>
                <c:pt idx="76">
                  <c:v>0.22</c:v>
                </c:pt>
                <c:pt idx="77">
                  <c:v>0.27</c:v>
                </c:pt>
                <c:pt idx="78">
                  <c:v>0.67</c:v>
                </c:pt>
                <c:pt idx="79">
                  <c:v>0.83</c:v>
                </c:pt>
                <c:pt idx="80">
                  <c:v>0.79</c:v>
                </c:pt>
                <c:pt idx="81">
                  <c:v>0.33</c:v>
                </c:pt>
                <c:pt idx="82">
                  <c:v>0.25</c:v>
                </c:pt>
                <c:pt idx="83">
                  <c:v>0.28999999999999998</c:v>
                </c:pt>
                <c:pt idx="84">
                  <c:v>0</c:v>
                </c:pt>
                <c:pt idx="85">
                  <c:v>0</c:v>
                </c:pt>
                <c:pt idx="86">
                  <c:v>0</c:v>
                </c:pt>
                <c:pt idx="87">
                  <c:v>0</c:v>
                </c:pt>
                <c:pt idx="88">
                  <c:v>0</c:v>
                </c:pt>
                <c:pt idx="89">
                  <c:v>0</c:v>
                </c:pt>
                <c:pt idx="90">
                  <c:v>0.67</c:v>
                </c:pt>
                <c:pt idx="91">
                  <c:v>0</c:v>
                </c:pt>
                <c:pt idx="92">
                  <c:v>1</c:v>
                </c:pt>
                <c:pt idx="93">
                  <c:v>0.2</c:v>
                </c:pt>
                <c:pt idx="94">
                  <c:v>0.75</c:v>
                </c:pt>
                <c:pt idx="95">
                  <c:v>0</c:v>
                </c:pt>
                <c:pt idx="96">
                  <c:v>0.67</c:v>
                </c:pt>
                <c:pt idx="97">
                  <c:v>0</c:v>
                </c:pt>
                <c:pt idx="98">
                  <c:v>0</c:v>
                </c:pt>
                <c:pt idx="99">
                  <c:v>0</c:v>
                </c:pt>
                <c:pt idx="100">
                  <c:v>0.2</c:v>
                </c:pt>
                <c:pt idx="101">
                  <c:v>0.5</c:v>
                </c:pt>
                <c:pt idx="102">
                  <c:v>0</c:v>
                </c:pt>
                <c:pt idx="103">
                  <c:v>0</c:v>
                </c:pt>
                <c:pt idx="104">
                  <c:v>0</c:v>
                </c:pt>
                <c:pt idx="105">
                  <c:v>0.02</c:v>
                </c:pt>
                <c:pt idx="106">
                  <c:v>0</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5</c:v>
                </c:pt>
                <c:pt idx="101">
                  <c:v>20</c:v>
                </c:pt>
                <c:pt idx="102">
                  <c:v>10</c:v>
                </c:pt>
                <c:pt idx="103">
                  <c:v>0</c:v>
                </c:pt>
                <c:pt idx="104">
                  <c:v>5</c:v>
                </c:pt>
                <c:pt idx="105">
                  <c:v>5</c:v>
                </c:pt>
                <c:pt idx="106">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32</c:v>
                </c:pt>
                <c:pt idx="101">
                  <c:v>10</c:v>
                </c:pt>
                <c:pt idx="102">
                  <c:v>36</c:v>
                </c:pt>
                <c:pt idx="103">
                  <c:v>62</c:v>
                </c:pt>
                <c:pt idx="104">
                  <c:v>190</c:v>
                </c:pt>
                <c:pt idx="105">
                  <c:v>922</c:v>
                </c:pt>
                <c:pt idx="106">
                  <c:v>159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8</c:v>
                </c:pt>
                <c:pt idx="101">
                  <c:v>10</c:v>
                </c:pt>
                <c:pt idx="102">
                  <c:v>0</c:v>
                </c:pt>
                <c:pt idx="103">
                  <c:v>8</c:v>
                </c:pt>
                <c:pt idx="104">
                  <c:v>4</c:v>
                </c:pt>
                <c:pt idx="105">
                  <c:v>14</c:v>
                </c:pt>
                <c:pt idx="106">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275</c:v>
                </c:pt>
                <c:pt idx="39">
                  <c:v>9580</c:v>
                </c:pt>
                <c:pt idx="40">
                  <c:v>7685</c:v>
                </c:pt>
                <c:pt idx="41">
                  <c:v>83775</c:v>
                </c:pt>
                <c:pt idx="42">
                  <c:v>103745</c:v>
                </c:pt>
                <c:pt idx="43">
                  <c:v>86010</c:v>
                </c:pt>
                <c:pt idx="44">
                  <c:v>375390</c:v>
                </c:pt>
                <c:pt idx="45">
                  <c:v>352690</c:v>
                </c:pt>
                <c:pt idx="46">
                  <c:v>311690</c:v>
                </c:pt>
                <c:pt idx="47">
                  <c:v>90585</c:v>
                </c:pt>
                <c:pt idx="48">
                  <c:v>74385</c:v>
                </c:pt>
                <c:pt idx="49">
                  <c:v>75465</c:v>
                </c:pt>
                <c:pt idx="50">
                  <c:v>136740</c:v>
                </c:pt>
                <c:pt idx="51">
                  <c:v>279025</c:v>
                </c:pt>
                <c:pt idx="52">
                  <c:v>374830</c:v>
                </c:pt>
                <c:pt idx="53">
                  <c:v>417605</c:v>
                </c:pt>
                <c:pt idx="54">
                  <c:v>380750</c:v>
                </c:pt>
                <c:pt idx="55">
                  <c:v>313225</c:v>
                </c:pt>
                <c:pt idx="56">
                  <c:v>22670</c:v>
                </c:pt>
                <c:pt idx="57">
                  <c:v>23190</c:v>
                </c:pt>
                <c:pt idx="58">
                  <c:v>19260</c:v>
                </c:pt>
                <c:pt idx="59">
                  <c:v>23280</c:v>
                </c:pt>
                <c:pt idx="60">
                  <c:v>70145</c:v>
                </c:pt>
                <c:pt idx="61">
                  <c:v>90260</c:v>
                </c:pt>
                <c:pt idx="62">
                  <c:v>65280</c:v>
                </c:pt>
                <c:pt idx="63">
                  <c:v>24365</c:v>
                </c:pt>
                <c:pt idx="64">
                  <c:v>10500</c:v>
                </c:pt>
                <c:pt idx="65">
                  <c:v>86360</c:v>
                </c:pt>
                <c:pt idx="66">
                  <c:v>200880</c:v>
                </c:pt>
                <c:pt idx="67">
                  <c:v>188065</c:v>
                </c:pt>
                <c:pt idx="68">
                  <c:v>104430</c:v>
                </c:pt>
                <c:pt idx="69">
                  <c:v>54480</c:v>
                </c:pt>
                <c:pt idx="70">
                  <c:v>37470</c:v>
                </c:pt>
                <c:pt idx="71">
                  <c:v>63420</c:v>
                </c:pt>
                <c:pt idx="72">
                  <c:v>56850</c:v>
                </c:pt>
                <c:pt idx="73">
                  <c:v>213700</c:v>
                </c:pt>
                <c:pt idx="74">
                  <c:v>288130</c:v>
                </c:pt>
                <c:pt idx="75">
                  <c:v>286385</c:v>
                </c:pt>
                <c:pt idx="76">
                  <c:v>280445</c:v>
                </c:pt>
                <c:pt idx="77">
                  <c:v>278165</c:v>
                </c:pt>
                <c:pt idx="78">
                  <c:v>257200</c:v>
                </c:pt>
                <c:pt idx="79">
                  <c:v>26585</c:v>
                </c:pt>
                <c:pt idx="80">
                  <c:v>1260</c:v>
                </c:pt>
                <c:pt idx="81">
                  <c:v>1500</c:v>
                </c:pt>
                <c:pt idx="82">
                  <c:v>53250</c:v>
                </c:pt>
                <c:pt idx="83">
                  <c:v>66230</c:v>
                </c:pt>
                <c:pt idx="84">
                  <c:v>77510</c:v>
                </c:pt>
                <c:pt idx="85">
                  <c:v>63095</c:v>
                </c:pt>
                <c:pt idx="86">
                  <c:v>13520</c:v>
                </c:pt>
                <c:pt idx="87">
                  <c:v>14580</c:v>
                </c:pt>
                <c:pt idx="88">
                  <c:v>13440</c:v>
                </c:pt>
                <c:pt idx="89">
                  <c:v>14505</c:v>
                </c:pt>
                <c:pt idx="90">
                  <c:v>15360</c:v>
                </c:pt>
                <c:pt idx="91">
                  <c:v>1300</c:v>
                </c:pt>
                <c:pt idx="92">
                  <c:v>910</c:v>
                </c:pt>
                <c:pt idx="93">
                  <c:v>53165</c:v>
                </c:pt>
                <c:pt idx="94">
                  <c:v>68325</c:v>
                </c:pt>
                <c:pt idx="95">
                  <c:v>285870</c:v>
                </c:pt>
                <c:pt idx="96">
                  <c:v>313980</c:v>
                </c:pt>
                <c:pt idx="97">
                  <c:v>296770</c:v>
                </c:pt>
                <c:pt idx="98">
                  <c:v>289345</c:v>
                </c:pt>
                <c:pt idx="99">
                  <c:v>266660</c:v>
                </c:pt>
                <c:pt idx="100">
                  <c:v>205270</c:v>
                </c:pt>
                <c:pt idx="101">
                  <c:v>58290</c:v>
                </c:pt>
                <c:pt idx="102">
                  <c:v>84180</c:v>
                </c:pt>
                <c:pt idx="103">
                  <c:v>76160</c:v>
                </c:pt>
                <c:pt idx="104">
                  <c:v>232055</c:v>
                </c:pt>
                <c:pt idx="105">
                  <c:v>404225</c:v>
                </c:pt>
                <c:pt idx="106">
                  <c:v>424985</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6057</c:v>
                </c:pt>
                <c:pt idx="1">
                  <c:v>442659</c:v>
                </c:pt>
                <c:pt idx="2">
                  <c:v>435021</c:v>
                </c:pt>
                <c:pt idx="3">
                  <c:v>418958</c:v>
                </c:pt>
                <c:pt idx="4">
                  <c:v>433072</c:v>
                </c:pt>
                <c:pt idx="5">
                  <c:v>436611</c:v>
                </c:pt>
                <c:pt idx="6">
                  <c:v>417681</c:v>
                </c:pt>
                <c:pt idx="7">
                  <c:v>421511</c:v>
                </c:pt>
                <c:pt idx="8">
                  <c:v>451128</c:v>
                </c:pt>
                <c:pt idx="9">
                  <c:v>425080</c:v>
                </c:pt>
                <c:pt idx="10">
                  <c:v>406292</c:v>
                </c:pt>
                <c:pt idx="11">
                  <c:v>413572</c:v>
                </c:pt>
                <c:pt idx="12">
                  <c:v>444633</c:v>
                </c:pt>
                <c:pt idx="13">
                  <c:v>453778</c:v>
                </c:pt>
                <c:pt idx="14">
                  <c:v>388208</c:v>
                </c:pt>
                <c:pt idx="15">
                  <c:v>434713</c:v>
                </c:pt>
                <c:pt idx="16">
                  <c:v>444538</c:v>
                </c:pt>
                <c:pt idx="17">
                  <c:v>483818</c:v>
                </c:pt>
                <c:pt idx="18">
                  <c:v>454497</c:v>
                </c:pt>
                <c:pt idx="19">
                  <c:v>450862</c:v>
                </c:pt>
                <c:pt idx="20">
                  <c:v>480885</c:v>
                </c:pt>
                <c:pt idx="21">
                  <c:v>500228</c:v>
                </c:pt>
                <c:pt idx="22">
                  <c:v>508566</c:v>
                </c:pt>
                <c:pt idx="23">
                  <c:v>491944</c:v>
                </c:pt>
                <c:pt idx="24">
                  <c:v>479619</c:v>
                </c:pt>
                <c:pt idx="25">
                  <c:v>495654</c:v>
                </c:pt>
                <c:pt idx="26">
                  <c:v>513730</c:v>
                </c:pt>
                <c:pt idx="27">
                  <c:v>452115</c:v>
                </c:pt>
                <c:pt idx="28">
                  <c:v>427538</c:v>
                </c:pt>
                <c:pt idx="29">
                  <c:v>465378</c:v>
                </c:pt>
                <c:pt idx="30">
                  <c:v>509075</c:v>
                </c:pt>
                <c:pt idx="31">
                  <c:v>337795</c:v>
                </c:pt>
                <c:pt idx="32">
                  <c:v>122581</c:v>
                </c:pt>
                <c:pt idx="33">
                  <c:v>104402</c:v>
                </c:pt>
                <c:pt idx="34">
                  <c:v>103453</c:v>
                </c:pt>
                <c:pt idx="35">
                  <c:v>110014</c:v>
                </c:pt>
                <c:pt idx="36">
                  <c:v>106970</c:v>
                </c:pt>
                <c:pt idx="37">
                  <c:v>107095</c:v>
                </c:pt>
                <c:pt idx="38">
                  <c:v>109487</c:v>
                </c:pt>
                <c:pt idx="39">
                  <c:v>114742</c:v>
                </c:pt>
                <c:pt idx="40">
                  <c:v>106748</c:v>
                </c:pt>
                <c:pt idx="41">
                  <c:v>109020</c:v>
                </c:pt>
                <c:pt idx="42">
                  <c:v>111062</c:v>
                </c:pt>
                <c:pt idx="43">
                  <c:v>499409</c:v>
                </c:pt>
                <c:pt idx="44">
                  <c:v>495786</c:v>
                </c:pt>
                <c:pt idx="45">
                  <c:v>451024</c:v>
                </c:pt>
                <c:pt idx="46">
                  <c:v>412809</c:v>
                </c:pt>
                <c:pt idx="47">
                  <c:v>450147</c:v>
                </c:pt>
                <c:pt idx="48">
                  <c:v>450957</c:v>
                </c:pt>
                <c:pt idx="49">
                  <c:v>460031</c:v>
                </c:pt>
                <c:pt idx="50">
                  <c:v>498974</c:v>
                </c:pt>
                <c:pt idx="51">
                  <c:v>379504</c:v>
                </c:pt>
                <c:pt idx="52">
                  <c:v>432751</c:v>
                </c:pt>
                <c:pt idx="53">
                  <c:v>382857</c:v>
                </c:pt>
                <c:pt idx="54">
                  <c:v>402662</c:v>
                </c:pt>
                <c:pt idx="55">
                  <c:v>437665</c:v>
                </c:pt>
                <c:pt idx="56">
                  <c:v>445577</c:v>
                </c:pt>
                <c:pt idx="57">
                  <c:v>435703</c:v>
                </c:pt>
                <c:pt idx="58">
                  <c:v>369956</c:v>
                </c:pt>
                <c:pt idx="59">
                  <c:v>345109</c:v>
                </c:pt>
                <c:pt idx="60">
                  <c:v>400243</c:v>
                </c:pt>
                <c:pt idx="61">
                  <c:v>431477</c:v>
                </c:pt>
                <c:pt idx="62">
                  <c:v>413684</c:v>
                </c:pt>
                <c:pt idx="63">
                  <c:v>343963</c:v>
                </c:pt>
                <c:pt idx="64">
                  <c:v>378356</c:v>
                </c:pt>
                <c:pt idx="65">
                  <c:v>376953</c:v>
                </c:pt>
                <c:pt idx="66">
                  <c:v>357645</c:v>
                </c:pt>
                <c:pt idx="67">
                  <c:v>350505</c:v>
                </c:pt>
                <c:pt idx="68">
                  <c:v>358441</c:v>
                </c:pt>
                <c:pt idx="69">
                  <c:v>380820</c:v>
                </c:pt>
                <c:pt idx="70">
                  <c:v>383764</c:v>
                </c:pt>
                <c:pt idx="71">
                  <c:v>354351</c:v>
                </c:pt>
                <c:pt idx="72">
                  <c:v>389579</c:v>
                </c:pt>
                <c:pt idx="73">
                  <c:v>457551</c:v>
                </c:pt>
                <c:pt idx="74">
                  <c:v>496556</c:v>
                </c:pt>
                <c:pt idx="75">
                  <c:v>461523</c:v>
                </c:pt>
                <c:pt idx="76">
                  <c:v>462623</c:v>
                </c:pt>
                <c:pt idx="77">
                  <c:v>461025</c:v>
                </c:pt>
                <c:pt idx="78">
                  <c:v>497459</c:v>
                </c:pt>
                <c:pt idx="79">
                  <c:v>450347</c:v>
                </c:pt>
                <c:pt idx="80">
                  <c:v>440161</c:v>
                </c:pt>
                <c:pt idx="81">
                  <c:v>434008</c:v>
                </c:pt>
                <c:pt idx="82">
                  <c:v>454367</c:v>
                </c:pt>
                <c:pt idx="83">
                  <c:v>461400</c:v>
                </c:pt>
                <c:pt idx="84">
                  <c:v>457344</c:v>
                </c:pt>
                <c:pt idx="85">
                  <c:v>453510</c:v>
                </c:pt>
                <c:pt idx="86">
                  <c:v>451003</c:v>
                </c:pt>
                <c:pt idx="87">
                  <c:v>462931</c:v>
                </c:pt>
                <c:pt idx="88">
                  <c:v>432425</c:v>
                </c:pt>
                <c:pt idx="89">
                  <c:v>432253</c:v>
                </c:pt>
                <c:pt idx="90">
                  <c:v>413381</c:v>
                </c:pt>
                <c:pt idx="91">
                  <c:v>448850</c:v>
                </c:pt>
                <c:pt idx="92">
                  <c:v>347988</c:v>
                </c:pt>
                <c:pt idx="93">
                  <c:v>342622</c:v>
                </c:pt>
                <c:pt idx="94">
                  <c:v>380486</c:v>
                </c:pt>
                <c:pt idx="95">
                  <c:v>436497</c:v>
                </c:pt>
                <c:pt idx="96">
                  <c:v>450677</c:v>
                </c:pt>
                <c:pt idx="97">
                  <c:v>408292</c:v>
                </c:pt>
                <c:pt idx="98">
                  <c:v>353364</c:v>
                </c:pt>
                <c:pt idx="99">
                  <c:v>287673</c:v>
                </c:pt>
                <c:pt idx="100">
                  <c:v>303099</c:v>
                </c:pt>
                <c:pt idx="101">
                  <c:v>346763</c:v>
                </c:pt>
                <c:pt idx="102">
                  <c:v>395538</c:v>
                </c:pt>
                <c:pt idx="103">
                  <c:v>339252</c:v>
                </c:pt>
                <c:pt idx="104">
                  <c:v>358046</c:v>
                </c:pt>
                <c:pt idx="105">
                  <c:v>337519</c:v>
                </c:pt>
                <c:pt idx="106">
                  <c:v>356182</c:v>
                </c:pt>
                <c:pt idx="107">
                  <c:v>320935</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239</c:v>
                </c:pt>
                <c:pt idx="1">
                  <c:v>80758</c:v>
                </c:pt>
                <c:pt idx="2">
                  <c:v>82044</c:v>
                </c:pt>
                <c:pt idx="3">
                  <c:v>54816</c:v>
                </c:pt>
                <c:pt idx="4">
                  <c:v>44755</c:v>
                </c:pt>
                <c:pt idx="5">
                  <c:v>53094</c:v>
                </c:pt>
                <c:pt idx="6">
                  <c:v>58282</c:v>
                </c:pt>
                <c:pt idx="7">
                  <c:v>99699</c:v>
                </c:pt>
                <c:pt idx="8">
                  <c:v>75872</c:v>
                </c:pt>
                <c:pt idx="9">
                  <c:v>70683</c:v>
                </c:pt>
                <c:pt idx="10">
                  <c:v>74763</c:v>
                </c:pt>
                <c:pt idx="11">
                  <c:v>85584</c:v>
                </c:pt>
                <c:pt idx="12">
                  <c:v>14338</c:v>
                </c:pt>
                <c:pt idx="13">
                  <c:v>48571</c:v>
                </c:pt>
                <c:pt idx="14">
                  <c:v>68032</c:v>
                </c:pt>
                <c:pt idx="15">
                  <c:v>68867</c:v>
                </c:pt>
                <c:pt idx="16">
                  <c:v>18568</c:v>
                </c:pt>
                <c:pt idx="17">
                  <c:v>5261</c:v>
                </c:pt>
                <c:pt idx="18">
                  <c:v>3553</c:v>
                </c:pt>
                <c:pt idx="19">
                  <c:v>2821</c:v>
                </c:pt>
                <c:pt idx="20">
                  <c:v>3507</c:v>
                </c:pt>
                <c:pt idx="21">
                  <c:v>2558</c:v>
                </c:pt>
                <c:pt idx="22">
                  <c:v>2209</c:v>
                </c:pt>
                <c:pt idx="23">
                  <c:v>1762</c:v>
                </c:pt>
                <c:pt idx="24">
                  <c:v>2669</c:v>
                </c:pt>
                <c:pt idx="25">
                  <c:v>3372</c:v>
                </c:pt>
                <c:pt idx="26">
                  <c:v>1228</c:v>
                </c:pt>
                <c:pt idx="27">
                  <c:v>48243</c:v>
                </c:pt>
                <c:pt idx="28">
                  <c:v>96283</c:v>
                </c:pt>
                <c:pt idx="29">
                  <c:v>23991</c:v>
                </c:pt>
                <c:pt idx="30">
                  <c:v>14900</c:v>
                </c:pt>
                <c:pt idx="31">
                  <c:v>180689</c:v>
                </c:pt>
                <c:pt idx="32">
                  <c:v>430624</c:v>
                </c:pt>
                <c:pt idx="33">
                  <c:v>436877</c:v>
                </c:pt>
                <c:pt idx="34">
                  <c:v>436804</c:v>
                </c:pt>
                <c:pt idx="35">
                  <c:v>429366</c:v>
                </c:pt>
                <c:pt idx="36">
                  <c:v>407868</c:v>
                </c:pt>
                <c:pt idx="37">
                  <c:v>397975</c:v>
                </c:pt>
                <c:pt idx="38">
                  <c:v>398977</c:v>
                </c:pt>
                <c:pt idx="39">
                  <c:v>424678</c:v>
                </c:pt>
                <c:pt idx="40">
                  <c:v>440855</c:v>
                </c:pt>
                <c:pt idx="41">
                  <c:v>434826</c:v>
                </c:pt>
                <c:pt idx="42">
                  <c:v>413473</c:v>
                </c:pt>
                <c:pt idx="43">
                  <c:v>47036</c:v>
                </c:pt>
                <c:pt idx="44">
                  <c:v>43815</c:v>
                </c:pt>
                <c:pt idx="45">
                  <c:v>54121</c:v>
                </c:pt>
                <c:pt idx="46">
                  <c:v>83431</c:v>
                </c:pt>
                <c:pt idx="47">
                  <c:v>94523</c:v>
                </c:pt>
                <c:pt idx="48">
                  <c:v>154534</c:v>
                </c:pt>
                <c:pt idx="49">
                  <c:v>183883</c:v>
                </c:pt>
                <c:pt idx="50">
                  <c:v>308309</c:v>
                </c:pt>
                <c:pt idx="51">
                  <c:v>565784</c:v>
                </c:pt>
                <c:pt idx="52">
                  <c:v>46192</c:v>
                </c:pt>
                <c:pt idx="53">
                  <c:v>48478</c:v>
                </c:pt>
                <c:pt idx="54">
                  <c:v>27801</c:v>
                </c:pt>
                <c:pt idx="55">
                  <c:v>14945</c:v>
                </c:pt>
                <c:pt idx="56">
                  <c:v>23250</c:v>
                </c:pt>
                <c:pt idx="57">
                  <c:v>36615</c:v>
                </c:pt>
                <c:pt idx="58">
                  <c:v>73143</c:v>
                </c:pt>
                <c:pt idx="59">
                  <c:v>181681</c:v>
                </c:pt>
                <c:pt idx="60">
                  <c:v>95268</c:v>
                </c:pt>
                <c:pt idx="61">
                  <c:v>50965</c:v>
                </c:pt>
                <c:pt idx="62">
                  <c:v>39514</c:v>
                </c:pt>
                <c:pt idx="63">
                  <c:v>150345</c:v>
                </c:pt>
                <c:pt idx="64">
                  <c:v>106157</c:v>
                </c:pt>
                <c:pt idx="65">
                  <c:v>98650</c:v>
                </c:pt>
                <c:pt idx="66">
                  <c:v>103985</c:v>
                </c:pt>
                <c:pt idx="67">
                  <c:v>147148</c:v>
                </c:pt>
                <c:pt idx="68">
                  <c:v>96549</c:v>
                </c:pt>
                <c:pt idx="69">
                  <c:v>98655</c:v>
                </c:pt>
                <c:pt idx="70">
                  <c:v>88148</c:v>
                </c:pt>
                <c:pt idx="71">
                  <c:v>97637</c:v>
                </c:pt>
                <c:pt idx="72">
                  <c:v>108644</c:v>
                </c:pt>
                <c:pt idx="73">
                  <c:v>1054</c:v>
                </c:pt>
                <c:pt idx="74">
                  <c:v>1382</c:v>
                </c:pt>
                <c:pt idx="75">
                  <c:v>1474</c:v>
                </c:pt>
                <c:pt idx="76">
                  <c:v>2436</c:v>
                </c:pt>
                <c:pt idx="77">
                  <c:v>906</c:v>
                </c:pt>
                <c:pt idx="78">
                  <c:v>2026</c:v>
                </c:pt>
                <c:pt idx="79">
                  <c:v>12851</c:v>
                </c:pt>
                <c:pt idx="80">
                  <c:v>23197</c:v>
                </c:pt>
                <c:pt idx="81">
                  <c:v>23542</c:v>
                </c:pt>
                <c:pt idx="82">
                  <c:v>21764</c:v>
                </c:pt>
                <c:pt idx="83">
                  <c:v>6950</c:v>
                </c:pt>
                <c:pt idx="84">
                  <c:v>6490</c:v>
                </c:pt>
                <c:pt idx="85">
                  <c:v>1049</c:v>
                </c:pt>
                <c:pt idx="86">
                  <c:v>4642</c:v>
                </c:pt>
                <c:pt idx="87">
                  <c:v>1131</c:v>
                </c:pt>
                <c:pt idx="88">
                  <c:v>1465</c:v>
                </c:pt>
                <c:pt idx="89">
                  <c:v>1185</c:v>
                </c:pt>
                <c:pt idx="90">
                  <c:v>17283</c:v>
                </c:pt>
                <c:pt idx="91">
                  <c:v>52297</c:v>
                </c:pt>
                <c:pt idx="92">
                  <c:v>109877</c:v>
                </c:pt>
                <c:pt idx="93">
                  <c:v>141043</c:v>
                </c:pt>
                <c:pt idx="94">
                  <c:v>91803</c:v>
                </c:pt>
                <c:pt idx="95">
                  <c:v>40955</c:v>
                </c:pt>
                <c:pt idx="96">
                  <c:v>52260</c:v>
                </c:pt>
                <c:pt idx="97">
                  <c:v>87202</c:v>
                </c:pt>
                <c:pt idx="98">
                  <c:v>149154</c:v>
                </c:pt>
                <c:pt idx="99">
                  <c:v>226282</c:v>
                </c:pt>
                <c:pt idx="100">
                  <c:v>304207</c:v>
                </c:pt>
                <c:pt idx="101">
                  <c:v>288955</c:v>
                </c:pt>
                <c:pt idx="102">
                  <c:v>325250</c:v>
                </c:pt>
                <c:pt idx="103">
                  <c:v>609797</c:v>
                </c:pt>
                <c:pt idx="104">
                  <c:v>91957</c:v>
                </c:pt>
                <c:pt idx="105">
                  <c:v>75393</c:v>
                </c:pt>
                <c:pt idx="106">
                  <c:v>72457</c:v>
                </c:pt>
                <c:pt idx="107">
                  <c:v>6504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83294</c:v>
                </c:pt>
                <c:pt idx="1">
                  <c:v>894944</c:v>
                </c:pt>
                <c:pt idx="2">
                  <c:v>911854</c:v>
                </c:pt>
                <c:pt idx="3">
                  <c:v>887858</c:v>
                </c:pt>
                <c:pt idx="4">
                  <c:v>942843</c:v>
                </c:pt>
                <c:pt idx="5">
                  <c:v>952782</c:v>
                </c:pt>
                <c:pt idx="6">
                  <c:v>902035</c:v>
                </c:pt>
                <c:pt idx="7">
                  <c:v>947146</c:v>
                </c:pt>
                <c:pt idx="8">
                  <c:v>1001615</c:v>
                </c:pt>
                <c:pt idx="9">
                  <c:v>981067</c:v>
                </c:pt>
                <c:pt idx="10">
                  <c:v>920059</c:v>
                </c:pt>
                <c:pt idx="11">
                  <c:v>905084</c:v>
                </c:pt>
                <c:pt idx="12">
                  <c:v>888212</c:v>
                </c:pt>
                <c:pt idx="13">
                  <c:v>974473</c:v>
                </c:pt>
                <c:pt idx="14">
                  <c:v>875418</c:v>
                </c:pt>
                <c:pt idx="15">
                  <c:v>929827</c:v>
                </c:pt>
                <c:pt idx="16">
                  <c:v>934088</c:v>
                </c:pt>
                <c:pt idx="17">
                  <c:v>1025071</c:v>
                </c:pt>
                <c:pt idx="18">
                  <c:v>969591</c:v>
                </c:pt>
                <c:pt idx="19">
                  <c:v>958315</c:v>
                </c:pt>
                <c:pt idx="20">
                  <c:v>984330</c:v>
                </c:pt>
                <c:pt idx="21">
                  <c:v>1042956</c:v>
                </c:pt>
                <c:pt idx="22">
                  <c:v>1060263</c:v>
                </c:pt>
                <c:pt idx="23">
                  <c:v>1014721</c:v>
                </c:pt>
                <c:pt idx="24">
                  <c:v>973551</c:v>
                </c:pt>
                <c:pt idx="25">
                  <c:v>1001173</c:v>
                </c:pt>
                <c:pt idx="26">
                  <c:v>994129</c:v>
                </c:pt>
                <c:pt idx="27">
                  <c:v>902575</c:v>
                </c:pt>
                <c:pt idx="28">
                  <c:v>925815</c:v>
                </c:pt>
                <c:pt idx="29">
                  <c:v>991622</c:v>
                </c:pt>
                <c:pt idx="30">
                  <c:v>1090041</c:v>
                </c:pt>
                <c:pt idx="31">
                  <c:v>1030135</c:v>
                </c:pt>
                <c:pt idx="32">
                  <c:v>1011531</c:v>
                </c:pt>
                <c:pt idx="33">
                  <c:v>972754</c:v>
                </c:pt>
                <c:pt idx="34">
                  <c:v>1000693</c:v>
                </c:pt>
                <c:pt idx="35">
                  <c:v>991932</c:v>
                </c:pt>
                <c:pt idx="36">
                  <c:v>936982</c:v>
                </c:pt>
                <c:pt idx="37">
                  <c:v>927883</c:v>
                </c:pt>
                <c:pt idx="38">
                  <c:v>922669</c:v>
                </c:pt>
                <c:pt idx="39">
                  <c:v>974484</c:v>
                </c:pt>
                <c:pt idx="40">
                  <c:v>927648</c:v>
                </c:pt>
                <c:pt idx="41">
                  <c:v>911977</c:v>
                </c:pt>
                <c:pt idx="42">
                  <c:v>901112</c:v>
                </c:pt>
                <c:pt idx="43">
                  <c:v>930692</c:v>
                </c:pt>
                <c:pt idx="44">
                  <c:v>920334</c:v>
                </c:pt>
                <c:pt idx="45">
                  <c:v>865169</c:v>
                </c:pt>
                <c:pt idx="46">
                  <c:v>821283</c:v>
                </c:pt>
                <c:pt idx="47">
                  <c:v>916127</c:v>
                </c:pt>
                <c:pt idx="48">
                  <c:v>981533</c:v>
                </c:pt>
                <c:pt idx="49">
                  <c:v>938639</c:v>
                </c:pt>
                <c:pt idx="50">
                  <c:v>1003778</c:v>
                </c:pt>
                <c:pt idx="51">
                  <c:v>800659</c:v>
                </c:pt>
                <c:pt idx="52">
                  <c:v>907039</c:v>
                </c:pt>
                <c:pt idx="53">
                  <c:v>859053</c:v>
                </c:pt>
                <c:pt idx="54">
                  <c:v>819752</c:v>
                </c:pt>
                <c:pt idx="55">
                  <c:v>871990</c:v>
                </c:pt>
                <c:pt idx="56">
                  <c:v>928260</c:v>
                </c:pt>
                <c:pt idx="57">
                  <c:v>907603</c:v>
                </c:pt>
                <c:pt idx="58">
                  <c:v>863715</c:v>
                </c:pt>
                <c:pt idx="59">
                  <c:v>936430</c:v>
                </c:pt>
                <c:pt idx="60">
                  <c:v>990780</c:v>
                </c:pt>
                <c:pt idx="61">
                  <c:v>987775</c:v>
                </c:pt>
                <c:pt idx="62">
                  <c:v>939722</c:v>
                </c:pt>
                <c:pt idx="63">
                  <c:v>922170</c:v>
                </c:pt>
                <c:pt idx="64">
                  <c:v>943802</c:v>
                </c:pt>
                <c:pt idx="65">
                  <c:v>916012</c:v>
                </c:pt>
                <c:pt idx="66">
                  <c:v>798917</c:v>
                </c:pt>
                <c:pt idx="67">
                  <c:v>772919</c:v>
                </c:pt>
                <c:pt idx="68">
                  <c:v>738960</c:v>
                </c:pt>
                <c:pt idx="69">
                  <c:v>792139</c:v>
                </c:pt>
                <c:pt idx="70">
                  <c:v>795848</c:v>
                </c:pt>
                <c:pt idx="71">
                  <c:v>781153</c:v>
                </c:pt>
                <c:pt idx="72">
                  <c:v>817269</c:v>
                </c:pt>
                <c:pt idx="73">
                  <c:v>811997</c:v>
                </c:pt>
                <c:pt idx="74">
                  <c:v>906209</c:v>
                </c:pt>
                <c:pt idx="75">
                  <c:v>838415</c:v>
                </c:pt>
                <c:pt idx="76">
                  <c:v>858390</c:v>
                </c:pt>
                <c:pt idx="77">
                  <c:v>1012948</c:v>
                </c:pt>
                <c:pt idx="78">
                  <c:v>1118943</c:v>
                </c:pt>
                <c:pt idx="79">
                  <c:v>1013990</c:v>
                </c:pt>
                <c:pt idx="80">
                  <c:v>1018155</c:v>
                </c:pt>
                <c:pt idx="81">
                  <c:v>985159</c:v>
                </c:pt>
                <c:pt idx="82">
                  <c:v>1046654</c:v>
                </c:pt>
                <c:pt idx="83">
                  <c:v>1031113</c:v>
                </c:pt>
                <c:pt idx="84">
                  <c:v>1007505</c:v>
                </c:pt>
                <c:pt idx="85">
                  <c:v>978595</c:v>
                </c:pt>
                <c:pt idx="86">
                  <c:v>990689</c:v>
                </c:pt>
                <c:pt idx="87">
                  <c:v>1038958</c:v>
                </c:pt>
                <c:pt idx="88">
                  <c:v>947929</c:v>
                </c:pt>
                <c:pt idx="89">
                  <c:v>946099</c:v>
                </c:pt>
                <c:pt idx="90">
                  <c:v>930181</c:v>
                </c:pt>
                <c:pt idx="91">
                  <c:v>1085978</c:v>
                </c:pt>
                <c:pt idx="92">
                  <c:v>942936</c:v>
                </c:pt>
                <c:pt idx="93">
                  <c:v>929753</c:v>
                </c:pt>
                <c:pt idx="94">
                  <c:v>910372</c:v>
                </c:pt>
                <c:pt idx="95">
                  <c:v>914508</c:v>
                </c:pt>
                <c:pt idx="96">
                  <c:v>957880</c:v>
                </c:pt>
                <c:pt idx="97">
                  <c:v>890415</c:v>
                </c:pt>
                <c:pt idx="98">
                  <c:v>895577</c:v>
                </c:pt>
                <c:pt idx="99">
                  <c:v>826631</c:v>
                </c:pt>
                <c:pt idx="100">
                  <c:v>929598</c:v>
                </c:pt>
                <c:pt idx="101">
                  <c:v>922201</c:v>
                </c:pt>
                <c:pt idx="102">
                  <c:v>940763</c:v>
                </c:pt>
                <c:pt idx="103">
                  <c:v>805062</c:v>
                </c:pt>
                <c:pt idx="104">
                  <c:v>827647</c:v>
                </c:pt>
                <c:pt idx="105">
                  <c:v>783404</c:v>
                </c:pt>
                <c:pt idx="106">
                  <c:v>829574</c:v>
                </c:pt>
                <c:pt idx="107">
                  <c:v>77608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3046</c:v>
                </c:pt>
                <c:pt idx="1">
                  <c:v>17005</c:v>
                </c:pt>
                <c:pt idx="2">
                  <c:v>11212</c:v>
                </c:pt>
                <c:pt idx="3">
                  <c:v>5307</c:v>
                </c:pt>
                <c:pt idx="4">
                  <c:v>4215</c:v>
                </c:pt>
                <c:pt idx="5">
                  <c:v>2404</c:v>
                </c:pt>
                <c:pt idx="6">
                  <c:v>3055</c:v>
                </c:pt>
                <c:pt idx="7">
                  <c:v>3169</c:v>
                </c:pt>
                <c:pt idx="8">
                  <c:v>1953</c:v>
                </c:pt>
                <c:pt idx="9">
                  <c:v>2014</c:v>
                </c:pt>
                <c:pt idx="10">
                  <c:v>1198</c:v>
                </c:pt>
                <c:pt idx="11">
                  <c:v>2748</c:v>
                </c:pt>
                <c:pt idx="12">
                  <c:v>2361</c:v>
                </c:pt>
                <c:pt idx="13">
                  <c:v>1127</c:v>
                </c:pt>
                <c:pt idx="14">
                  <c:v>18920</c:v>
                </c:pt>
                <c:pt idx="15">
                  <c:v>20094</c:v>
                </c:pt>
                <c:pt idx="16">
                  <c:v>9375</c:v>
                </c:pt>
                <c:pt idx="17">
                  <c:v>7406</c:v>
                </c:pt>
                <c:pt idx="18">
                  <c:v>5340</c:v>
                </c:pt>
                <c:pt idx="19">
                  <c:v>3679</c:v>
                </c:pt>
                <c:pt idx="20">
                  <c:v>3698</c:v>
                </c:pt>
                <c:pt idx="21">
                  <c:v>7834</c:v>
                </c:pt>
                <c:pt idx="22">
                  <c:v>3499</c:v>
                </c:pt>
                <c:pt idx="23">
                  <c:v>3432</c:v>
                </c:pt>
                <c:pt idx="24">
                  <c:v>9276</c:v>
                </c:pt>
                <c:pt idx="25">
                  <c:v>3153</c:v>
                </c:pt>
                <c:pt idx="26">
                  <c:v>1925</c:v>
                </c:pt>
                <c:pt idx="27">
                  <c:v>2517</c:v>
                </c:pt>
                <c:pt idx="28">
                  <c:v>13233</c:v>
                </c:pt>
                <c:pt idx="29">
                  <c:v>10838</c:v>
                </c:pt>
                <c:pt idx="30">
                  <c:v>7803</c:v>
                </c:pt>
                <c:pt idx="31">
                  <c:v>6722</c:v>
                </c:pt>
                <c:pt idx="32">
                  <c:v>7934</c:v>
                </c:pt>
                <c:pt idx="33">
                  <c:v>7981</c:v>
                </c:pt>
                <c:pt idx="34">
                  <c:v>7211</c:v>
                </c:pt>
                <c:pt idx="35">
                  <c:v>7865</c:v>
                </c:pt>
                <c:pt idx="36">
                  <c:v>11100</c:v>
                </c:pt>
                <c:pt idx="37">
                  <c:v>13733</c:v>
                </c:pt>
                <c:pt idx="38">
                  <c:v>15024</c:v>
                </c:pt>
                <c:pt idx="39">
                  <c:v>14472</c:v>
                </c:pt>
                <c:pt idx="40">
                  <c:v>11562</c:v>
                </c:pt>
                <c:pt idx="41">
                  <c:v>10472</c:v>
                </c:pt>
                <c:pt idx="42">
                  <c:v>9737</c:v>
                </c:pt>
                <c:pt idx="43">
                  <c:v>8311</c:v>
                </c:pt>
                <c:pt idx="44">
                  <c:v>8439</c:v>
                </c:pt>
                <c:pt idx="45">
                  <c:v>7319</c:v>
                </c:pt>
                <c:pt idx="46">
                  <c:v>4191</c:v>
                </c:pt>
                <c:pt idx="47">
                  <c:v>3022</c:v>
                </c:pt>
                <c:pt idx="48">
                  <c:v>4391</c:v>
                </c:pt>
                <c:pt idx="49">
                  <c:v>8000</c:v>
                </c:pt>
                <c:pt idx="50">
                  <c:v>11736</c:v>
                </c:pt>
                <c:pt idx="51">
                  <c:v>7645</c:v>
                </c:pt>
                <c:pt idx="52">
                  <c:v>20146</c:v>
                </c:pt>
                <c:pt idx="53">
                  <c:v>39037</c:v>
                </c:pt>
                <c:pt idx="54">
                  <c:v>34882</c:v>
                </c:pt>
                <c:pt idx="55">
                  <c:v>35803</c:v>
                </c:pt>
                <c:pt idx="56">
                  <c:v>35106</c:v>
                </c:pt>
                <c:pt idx="57">
                  <c:v>43558</c:v>
                </c:pt>
                <c:pt idx="58">
                  <c:v>46788</c:v>
                </c:pt>
                <c:pt idx="59">
                  <c:v>29810</c:v>
                </c:pt>
                <c:pt idx="60">
                  <c:v>6107</c:v>
                </c:pt>
                <c:pt idx="61">
                  <c:v>4969</c:v>
                </c:pt>
                <c:pt idx="62">
                  <c:v>4004</c:v>
                </c:pt>
                <c:pt idx="63">
                  <c:v>7028</c:v>
                </c:pt>
                <c:pt idx="64">
                  <c:v>6685</c:v>
                </c:pt>
                <c:pt idx="65">
                  <c:v>100296</c:v>
                </c:pt>
                <c:pt idx="66">
                  <c:v>169562</c:v>
                </c:pt>
                <c:pt idx="67">
                  <c:v>174625</c:v>
                </c:pt>
                <c:pt idx="68">
                  <c:v>169767</c:v>
                </c:pt>
                <c:pt idx="69">
                  <c:v>189312</c:v>
                </c:pt>
                <c:pt idx="70">
                  <c:v>192631</c:v>
                </c:pt>
                <c:pt idx="71">
                  <c:v>190077</c:v>
                </c:pt>
                <c:pt idx="72">
                  <c:v>200202</c:v>
                </c:pt>
                <c:pt idx="73">
                  <c:v>198104</c:v>
                </c:pt>
                <c:pt idx="74">
                  <c:v>221368</c:v>
                </c:pt>
                <c:pt idx="75">
                  <c:v>203942</c:v>
                </c:pt>
                <c:pt idx="76">
                  <c:v>176322</c:v>
                </c:pt>
                <c:pt idx="77">
                  <c:v>25739</c:v>
                </c:pt>
                <c:pt idx="78">
                  <c:v>19453</c:v>
                </c:pt>
                <c:pt idx="79">
                  <c:v>19725</c:v>
                </c:pt>
                <c:pt idx="80">
                  <c:v>18298</c:v>
                </c:pt>
                <c:pt idx="81">
                  <c:v>14419</c:v>
                </c:pt>
                <c:pt idx="82">
                  <c:v>11887</c:v>
                </c:pt>
                <c:pt idx="83">
                  <c:v>12024</c:v>
                </c:pt>
                <c:pt idx="84">
                  <c:v>17675</c:v>
                </c:pt>
                <c:pt idx="85">
                  <c:v>20449</c:v>
                </c:pt>
                <c:pt idx="86">
                  <c:v>18456</c:v>
                </c:pt>
                <c:pt idx="87">
                  <c:v>11307</c:v>
                </c:pt>
                <c:pt idx="88">
                  <c:v>11625</c:v>
                </c:pt>
                <c:pt idx="89">
                  <c:v>8670</c:v>
                </c:pt>
                <c:pt idx="90">
                  <c:v>8910</c:v>
                </c:pt>
                <c:pt idx="91">
                  <c:v>11312</c:v>
                </c:pt>
                <c:pt idx="92">
                  <c:v>11317</c:v>
                </c:pt>
                <c:pt idx="93">
                  <c:v>14847</c:v>
                </c:pt>
                <c:pt idx="94">
                  <c:v>13990</c:v>
                </c:pt>
                <c:pt idx="95">
                  <c:v>12216</c:v>
                </c:pt>
                <c:pt idx="96">
                  <c:v>11640</c:v>
                </c:pt>
                <c:pt idx="97">
                  <c:v>11063</c:v>
                </c:pt>
                <c:pt idx="98">
                  <c:v>8849</c:v>
                </c:pt>
                <c:pt idx="99">
                  <c:v>6042</c:v>
                </c:pt>
                <c:pt idx="100">
                  <c:v>9490</c:v>
                </c:pt>
                <c:pt idx="101">
                  <c:v>25687</c:v>
                </c:pt>
                <c:pt idx="102">
                  <c:v>34614</c:v>
                </c:pt>
                <c:pt idx="103">
                  <c:v>24565</c:v>
                </c:pt>
                <c:pt idx="104">
                  <c:v>29584</c:v>
                </c:pt>
                <c:pt idx="105">
                  <c:v>23147</c:v>
                </c:pt>
                <c:pt idx="106">
                  <c:v>21492</c:v>
                </c:pt>
                <c:pt idx="107">
                  <c:v>1806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45911</c:v>
                </c:pt>
                <c:pt idx="1">
                  <c:v>441986</c:v>
                </c:pt>
                <c:pt idx="2">
                  <c:v>434209</c:v>
                </c:pt>
                <c:pt idx="3">
                  <c:v>417587</c:v>
                </c:pt>
                <c:pt idx="4">
                  <c:v>431550</c:v>
                </c:pt>
                <c:pt idx="5">
                  <c:v>434905</c:v>
                </c:pt>
                <c:pt idx="6">
                  <c:v>416163</c:v>
                </c:pt>
                <c:pt idx="7">
                  <c:v>419733</c:v>
                </c:pt>
                <c:pt idx="8">
                  <c:v>449014</c:v>
                </c:pt>
                <c:pt idx="9">
                  <c:v>423226</c:v>
                </c:pt>
                <c:pt idx="10">
                  <c:v>404552</c:v>
                </c:pt>
                <c:pt idx="11">
                  <c:v>411834</c:v>
                </c:pt>
                <c:pt idx="12">
                  <c:v>442767</c:v>
                </c:pt>
                <c:pt idx="13">
                  <c:v>451584</c:v>
                </c:pt>
                <c:pt idx="14">
                  <c:v>385808</c:v>
                </c:pt>
                <c:pt idx="15">
                  <c:v>432512</c:v>
                </c:pt>
                <c:pt idx="16">
                  <c:v>442302</c:v>
                </c:pt>
                <c:pt idx="17">
                  <c:v>481458</c:v>
                </c:pt>
                <c:pt idx="18">
                  <c:v>452303</c:v>
                </c:pt>
                <c:pt idx="19">
                  <c:v>448738</c:v>
                </c:pt>
                <c:pt idx="20">
                  <c:v>478601</c:v>
                </c:pt>
                <c:pt idx="21">
                  <c:v>497958</c:v>
                </c:pt>
                <c:pt idx="22">
                  <c:v>506192</c:v>
                </c:pt>
                <c:pt idx="23">
                  <c:v>489588</c:v>
                </c:pt>
                <c:pt idx="24">
                  <c:v>477075</c:v>
                </c:pt>
                <c:pt idx="25">
                  <c:v>493300</c:v>
                </c:pt>
                <c:pt idx="26">
                  <c:v>511282</c:v>
                </c:pt>
                <c:pt idx="27">
                  <c:v>449689</c:v>
                </c:pt>
                <c:pt idx="28">
                  <c:v>424994</c:v>
                </c:pt>
                <c:pt idx="29">
                  <c:v>462940</c:v>
                </c:pt>
                <c:pt idx="30">
                  <c:v>506441</c:v>
                </c:pt>
                <c:pt idx="31">
                  <c:v>335267</c:v>
                </c:pt>
                <c:pt idx="32">
                  <c:v>119831</c:v>
                </c:pt>
                <c:pt idx="33">
                  <c:v>101776</c:v>
                </c:pt>
                <c:pt idx="34">
                  <c:v>100955</c:v>
                </c:pt>
                <c:pt idx="35">
                  <c:v>107664</c:v>
                </c:pt>
                <c:pt idx="36">
                  <c:v>104514</c:v>
                </c:pt>
                <c:pt idx="37">
                  <c:v>104757</c:v>
                </c:pt>
                <c:pt idx="38">
                  <c:v>107169</c:v>
                </c:pt>
                <c:pt idx="39">
                  <c:v>112322</c:v>
                </c:pt>
                <c:pt idx="40">
                  <c:v>104298</c:v>
                </c:pt>
                <c:pt idx="41">
                  <c:v>106578</c:v>
                </c:pt>
                <c:pt idx="42">
                  <c:v>108810</c:v>
                </c:pt>
                <c:pt idx="43">
                  <c:v>496957</c:v>
                </c:pt>
                <c:pt idx="44">
                  <c:v>493344</c:v>
                </c:pt>
                <c:pt idx="45">
                  <c:v>448622</c:v>
                </c:pt>
                <c:pt idx="46">
                  <c:v>410695</c:v>
                </c:pt>
                <c:pt idx="47">
                  <c:v>447917</c:v>
                </c:pt>
                <c:pt idx="48">
                  <c:v>448781</c:v>
                </c:pt>
                <c:pt idx="49">
                  <c:v>458663</c:v>
                </c:pt>
                <c:pt idx="50">
                  <c:v>497972</c:v>
                </c:pt>
                <c:pt idx="51">
                  <c:v>378868</c:v>
                </c:pt>
                <c:pt idx="52">
                  <c:v>432353</c:v>
                </c:pt>
                <c:pt idx="53">
                  <c:v>382225</c:v>
                </c:pt>
                <c:pt idx="54">
                  <c:v>402282</c:v>
                </c:pt>
                <c:pt idx="55">
                  <c:v>437517</c:v>
                </c:pt>
                <c:pt idx="56">
                  <c:v>445335</c:v>
                </c:pt>
                <c:pt idx="57">
                  <c:v>435631</c:v>
                </c:pt>
                <c:pt idx="58">
                  <c:v>369806</c:v>
                </c:pt>
                <c:pt idx="59">
                  <c:v>344945</c:v>
                </c:pt>
                <c:pt idx="60">
                  <c:v>400043</c:v>
                </c:pt>
                <c:pt idx="61">
                  <c:v>431297</c:v>
                </c:pt>
                <c:pt idx="62">
                  <c:v>413478</c:v>
                </c:pt>
                <c:pt idx="63">
                  <c:v>343873</c:v>
                </c:pt>
                <c:pt idx="64">
                  <c:v>378174</c:v>
                </c:pt>
                <c:pt idx="65">
                  <c:v>376893</c:v>
                </c:pt>
                <c:pt idx="66">
                  <c:v>357433</c:v>
                </c:pt>
                <c:pt idx="67">
                  <c:v>350317</c:v>
                </c:pt>
                <c:pt idx="68">
                  <c:v>358281</c:v>
                </c:pt>
                <c:pt idx="69">
                  <c:v>380698</c:v>
                </c:pt>
                <c:pt idx="70">
                  <c:v>383622</c:v>
                </c:pt>
                <c:pt idx="71">
                  <c:v>354303</c:v>
                </c:pt>
                <c:pt idx="72">
                  <c:v>389481</c:v>
                </c:pt>
                <c:pt idx="73">
                  <c:v>457501</c:v>
                </c:pt>
                <c:pt idx="74">
                  <c:v>496494</c:v>
                </c:pt>
                <c:pt idx="75">
                  <c:v>461475</c:v>
                </c:pt>
                <c:pt idx="76">
                  <c:v>462595</c:v>
                </c:pt>
                <c:pt idx="77">
                  <c:v>460993</c:v>
                </c:pt>
                <c:pt idx="78">
                  <c:v>497335</c:v>
                </c:pt>
                <c:pt idx="79">
                  <c:v>450335</c:v>
                </c:pt>
                <c:pt idx="80">
                  <c:v>440143</c:v>
                </c:pt>
                <c:pt idx="81">
                  <c:v>433984</c:v>
                </c:pt>
                <c:pt idx="82">
                  <c:v>454347</c:v>
                </c:pt>
                <c:pt idx="83">
                  <c:v>461380</c:v>
                </c:pt>
                <c:pt idx="84">
                  <c:v>457336</c:v>
                </c:pt>
                <c:pt idx="85">
                  <c:v>453474</c:v>
                </c:pt>
                <c:pt idx="86">
                  <c:v>450995</c:v>
                </c:pt>
                <c:pt idx="87">
                  <c:v>462887</c:v>
                </c:pt>
                <c:pt idx="88">
                  <c:v>432403</c:v>
                </c:pt>
                <c:pt idx="89">
                  <c:v>432241</c:v>
                </c:pt>
                <c:pt idx="90">
                  <c:v>413369</c:v>
                </c:pt>
                <c:pt idx="91">
                  <c:v>448846</c:v>
                </c:pt>
                <c:pt idx="92">
                  <c:v>347986</c:v>
                </c:pt>
                <c:pt idx="93">
                  <c:v>342606</c:v>
                </c:pt>
                <c:pt idx="94">
                  <c:v>380482</c:v>
                </c:pt>
                <c:pt idx="95">
                  <c:v>436493</c:v>
                </c:pt>
                <c:pt idx="96">
                  <c:v>450671</c:v>
                </c:pt>
                <c:pt idx="97">
                  <c:v>408268</c:v>
                </c:pt>
                <c:pt idx="98">
                  <c:v>353256</c:v>
                </c:pt>
                <c:pt idx="99">
                  <c:v>287669</c:v>
                </c:pt>
                <c:pt idx="100">
                  <c:v>302999</c:v>
                </c:pt>
                <c:pt idx="101">
                  <c:v>346731</c:v>
                </c:pt>
                <c:pt idx="102">
                  <c:v>395528</c:v>
                </c:pt>
                <c:pt idx="103">
                  <c:v>339216</c:v>
                </c:pt>
                <c:pt idx="104">
                  <c:v>357984</c:v>
                </c:pt>
                <c:pt idx="105">
                  <c:v>337329</c:v>
                </c:pt>
                <c:pt idx="106">
                  <c:v>355256</c:v>
                </c:pt>
                <c:pt idx="107">
                  <c:v>31933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12185</c:v>
                </c:pt>
                <c:pt idx="1">
                  <c:v>80746</c:v>
                </c:pt>
                <c:pt idx="2">
                  <c:v>82014</c:v>
                </c:pt>
                <c:pt idx="3">
                  <c:v>54784</c:v>
                </c:pt>
                <c:pt idx="4">
                  <c:v>44745</c:v>
                </c:pt>
                <c:pt idx="5">
                  <c:v>53000</c:v>
                </c:pt>
                <c:pt idx="6">
                  <c:v>58130</c:v>
                </c:pt>
                <c:pt idx="7">
                  <c:v>99523</c:v>
                </c:pt>
                <c:pt idx="8">
                  <c:v>75798</c:v>
                </c:pt>
                <c:pt idx="9">
                  <c:v>70561</c:v>
                </c:pt>
                <c:pt idx="10">
                  <c:v>74615</c:v>
                </c:pt>
                <c:pt idx="11">
                  <c:v>85430</c:v>
                </c:pt>
                <c:pt idx="12">
                  <c:v>14154</c:v>
                </c:pt>
                <c:pt idx="13">
                  <c:v>48383</c:v>
                </c:pt>
                <c:pt idx="14">
                  <c:v>67934</c:v>
                </c:pt>
                <c:pt idx="15">
                  <c:v>68705</c:v>
                </c:pt>
                <c:pt idx="16">
                  <c:v>18432</c:v>
                </c:pt>
                <c:pt idx="17">
                  <c:v>5089</c:v>
                </c:pt>
                <c:pt idx="18">
                  <c:v>3401</c:v>
                </c:pt>
                <c:pt idx="19">
                  <c:v>2687</c:v>
                </c:pt>
                <c:pt idx="20">
                  <c:v>3307</c:v>
                </c:pt>
                <c:pt idx="21">
                  <c:v>2430</c:v>
                </c:pt>
                <c:pt idx="22">
                  <c:v>1991</c:v>
                </c:pt>
                <c:pt idx="23">
                  <c:v>1280</c:v>
                </c:pt>
                <c:pt idx="24">
                  <c:v>2517</c:v>
                </c:pt>
                <c:pt idx="25">
                  <c:v>3188</c:v>
                </c:pt>
                <c:pt idx="26">
                  <c:v>982</c:v>
                </c:pt>
                <c:pt idx="27">
                  <c:v>48095</c:v>
                </c:pt>
                <c:pt idx="28">
                  <c:v>96121</c:v>
                </c:pt>
                <c:pt idx="29">
                  <c:v>23825</c:v>
                </c:pt>
                <c:pt idx="30">
                  <c:v>14780</c:v>
                </c:pt>
                <c:pt idx="31">
                  <c:v>180545</c:v>
                </c:pt>
                <c:pt idx="32">
                  <c:v>430466</c:v>
                </c:pt>
                <c:pt idx="33">
                  <c:v>436791</c:v>
                </c:pt>
                <c:pt idx="34">
                  <c:v>436720</c:v>
                </c:pt>
                <c:pt idx="35">
                  <c:v>429262</c:v>
                </c:pt>
                <c:pt idx="36">
                  <c:v>407708</c:v>
                </c:pt>
                <c:pt idx="37">
                  <c:v>397811</c:v>
                </c:pt>
                <c:pt idx="38">
                  <c:v>398843</c:v>
                </c:pt>
                <c:pt idx="39">
                  <c:v>424494</c:v>
                </c:pt>
                <c:pt idx="40">
                  <c:v>439975</c:v>
                </c:pt>
                <c:pt idx="41">
                  <c:v>433388</c:v>
                </c:pt>
                <c:pt idx="42">
                  <c:v>411825</c:v>
                </c:pt>
                <c:pt idx="43">
                  <c:v>45306</c:v>
                </c:pt>
                <c:pt idx="44">
                  <c:v>41643</c:v>
                </c:pt>
                <c:pt idx="45">
                  <c:v>51449</c:v>
                </c:pt>
                <c:pt idx="46">
                  <c:v>78405</c:v>
                </c:pt>
                <c:pt idx="47">
                  <c:v>89743</c:v>
                </c:pt>
                <c:pt idx="48">
                  <c:v>147124</c:v>
                </c:pt>
                <c:pt idx="49">
                  <c:v>171099</c:v>
                </c:pt>
                <c:pt idx="50">
                  <c:v>277219</c:v>
                </c:pt>
                <c:pt idx="51">
                  <c:v>464196</c:v>
                </c:pt>
                <c:pt idx="52">
                  <c:v>20536</c:v>
                </c:pt>
                <c:pt idx="53">
                  <c:v>41234</c:v>
                </c:pt>
                <c:pt idx="54">
                  <c:v>21881</c:v>
                </c:pt>
                <c:pt idx="55">
                  <c:v>10193</c:v>
                </c:pt>
                <c:pt idx="56">
                  <c:v>20994</c:v>
                </c:pt>
                <c:pt idx="57">
                  <c:v>35115</c:v>
                </c:pt>
                <c:pt idx="58">
                  <c:v>72353</c:v>
                </c:pt>
                <c:pt idx="59">
                  <c:v>180969</c:v>
                </c:pt>
                <c:pt idx="60">
                  <c:v>94740</c:v>
                </c:pt>
                <c:pt idx="61">
                  <c:v>50797</c:v>
                </c:pt>
                <c:pt idx="62">
                  <c:v>39350</c:v>
                </c:pt>
                <c:pt idx="63">
                  <c:v>150015</c:v>
                </c:pt>
                <c:pt idx="64">
                  <c:v>106043</c:v>
                </c:pt>
                <c:pt idx="65">
                  <c:v>98612</c:v>
                </c:pt>
                <c:pt idx="66">
                  <c:v>103937</c:v>
                </c:pt>
                <c:pt idx="67">
                  <c:v>147112</c:v>
                </c:pt>
                <c:pt idx="68">
                  <c:v>96489</c:v>
                </c:pt>
                <c:pt idx="69">
                  <c:v>98639</c:v>
                </c:pt>
                <c:pt idx="70">
                  <c:v>88122</c:v>
                </c:pt>
                <c:pt idx="71">
                  <c:v>97597</c:v>
                </c:pt>
                <c:pt idx="72">
                  <c:v>108552</c:v>
                </c:pt>
                <c:pt idx="73">
                  <c:v>1054</c:v>
                </c:pt>
                <c:pt idx="74">
                  <c:v>1382</c:v>
                </c:pt>
                <c:pt idx="75">
                  <c:v>1408</c:v>
                </c:pt>
                <c:pt idx="76">
                  <c:v>2426</c:v>
                </c:pt>
                <c:pt idx="77">
                  <c:v>892</c:v>
                </c:pt>
                <c:pt idx="78">
                  <c:v>1976</c:v>
                </c:pt>
                <c:pt idx="79">
                  <c:v>12789</c:v>
                </c:pt>
                <c:pt idx="80">
                  <c:v>23135</c:v>
                </c:pt>
                <c:pt idx="81">
                  <c:v>23432</c:v>
                </c:pt>
                <c:pt idx="82">
                  <c:v>21758</c:v>
                </c:pt>
                <c:pt idx="83">
                  <c:v>6942</c:v>
                </c:pt>
                <c:pt idx="84">
                  <c:v>6490</c:v>
                </c:pt>
                <c:pt idx="85">
                  <c:v>1049</c:v>
                </c:pt>
                <c:pt idx="86">
                  <c:v>4642</c:v>
                </c:pt>
                <c:pt idx="87">
                  <c:v>1129</c:v>
                </c:pt>
                <c:pt idx="88">
                  <c:v>1461</c:v>
                </c:pt>
                <c:pt idx="89">
                  <c:v>1183</c:v>
                </c:pt>
                <c:pt idx="90">
                  <c:v>17267</c:v>
                </c:pt>
                <c:pt idx="91">
                  <c:v>52293</c:v>
                </c:pt>
                <c:pt idx="92">
                  <c:v>109867</c:v>
                </c:pt>
                <c:pt idx="93">
                  <c:v>141039</c:v>
                </c:pt>
                <c:pt idx="94">
                  <c:v>91789</c:v>
                </c:pt>
                <c:pt idx="95">
                  <c:v>40955</c:v>
                </c:pt>
                <c:pt idx="96">
                  <c:v>52248</c:v>
                </c:pt>
                <c:pt idx="97">
                  <c:v>87200</c:v>
                </c:pt>
                <c:pt idx="98">
                  <c:v>149154</c:v>
                </c:pt>
                <c:pt idx="99">
                  <c:v>226282</c:v>
                </c:pt>
                <c:pt idx="100">
                  <c:v>304207</c:v>
                </c:pt>
                <c:pt idx="101">
                  <c:v>288847</c:v>
                </c:pt>
                <c:pt idx="102">
                  <c:v>325240</c:v>
                </c:pt>
                <c:pt idx="103">
                  <c:v>609797</c:v>
                </c:pt>
                <c:pt idx="104">
                  <c:v>91949</c:v>
                </c:pt>
                <c:pt idx="105">
                  <c:v>75389</c:v>
                </c:pt>
                <c:pt idx="106">
                  <c:v>72443</c:v>
                </c:pt>
                <c:pt idx="107">
                  <c:v>6503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5</c:v>
                </c:pt>
                <c:pt idx="101">
                  <c:v>20</c:v>
                </c:pt>
                <c:pt idx="102">
                  <c:v>10</c:v>
                </c:pt>
                <c:pt idx="103">
                  <c:v>0</c:v>
                </c:pt>
                <c:pt idx="104">
                  <c:v>5</c:v>
                </c:pt>
                <c:pt idx="105">
                  <c:v>5</c:v>
                </c:pt>
                <c:pt idx="106">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122</c:v>
                </c:pt>
                <c:pt idx="1">
                  <c:v>330</c:v>
                </c:pt>
                <c:pt idx="2">
                  <c:v>778</c:v>
                </c:pt>
                <c:pt idx="3">
                  <c:v>1332</c:v>
                </c:pt>
                <c:pt idx="4">
                  <c:v>1486</c:v>
                </c:pt>
                <c:pt idx="5">
                  <c:v>1700</c:v>
                </c:pt>
                <c:pt idx="6">
                  <c:v>1514</c:v>
                </c:pt>
                <c:pt idx="7">
                  <c:v>1778</c:v>
                </c:pt>
                <c:pt idx="8">
                  <c:v>2102</c:v>
                </c:pt>
                <c:pt idx="9">
                  <c:v>1846</c:v>
                </c:pt>
                <c:pt idx="10">
                  <c:v>1734</c:v>
                </c:pt>
                <c:pt idx="11">
                  <c:v>1698</c:v>
                </c:pt>
                <c:pt idx="12">
                  <c:v>1798</c:v>
                </c:pt>
                <c:pt idx="13">
                  <c:v>2186</c:v>
                </c:pt>
                <c:pt idx="14">
                  <c:v>2396</c:v>
                </c:pt>
                <c:pt idx="15">
                  <c:v>2182</c:v>
                </c:pt>
                <c:pt idx="16">
                  <c:v>2204</c:v>
                </c:pt>
                <c:pt idx="17">
                  <c:v>2348</c:v>
                </c:pt>
                <c:pt idx="18">
                  <c:v>2186</c:v>
                </c:pt>
                <c:pt idx="19">
                  <c:v>2094</c:v>
                </c:pt>
                <c:pt idx="20">
                  <c:v>2264</c:v>
                </c:pt>
                <c:pt idx="21">
                  <c:v>2270</c:v>
                </c:pt>
                <c:pt idx="22">
                  <c:v>2370</c:v>
                </c:pt>
                <c:pt idx="23">
                  <c:v>2356</c:v>
                </c:pt>
                <c:pt idx="24">
                  <c:v>2544</c:v>
                </c:pt>
                <c:pt idx="25">
                  <c:v>2354</c:v>
                </c:pt>
                <c:pt idx="26">
                  <c:v>2448</c:v>
                </c:pt>
                <c:pt idx="27">
                  <c:v>2426</c:v>
                </c:pt>
                <c:pt idx="28">
                  <c:v>2544</c:v>
                </c:pt>
                <c:pt idx="29">
                  <c:v>2430</c:v>
                </c:pt>
                <c:pt idx="30">
                  <c:v>2634</c:v>
                </c:pt>
                <c:pt idx="31">
                  <c:v>2528</c:v>
                </c:pt>
                <c:pt idx="32">
                  <c:v>2738</c:v>
                </c:pt>
                <c:pt idx="33">
                  <c:v>2626</c:v>
                </c:pt>
                <c:pt idx="34">
                  <c:v>2488</c:v>
                </c:pt>
                <c:pt idx="35">
                  <c:v>2342</c:v>
                </c:pt>
                <c:pt idx="36">
                  <c:v>2354</c:v>
                </c:pt>
                <c:pt idx="37">
                  <c:v>2334</c:v>
                </c:pt>
                <c:pt idx="38">
                  <c:v>2318</c:v>
                </c:pt>
                <c:pt idx="39">
                  <c:v>2420</c:v>
                </c:pt>
                <c:pt idx="40">
                  <c:v>2448</c:v>
                </c:pt>
                <c:pt idx="41">
                  <c:v>2440</c:v>
                </c:pt>
                <c:pt idx="42">
                  <c:v>2252</c:v>
                </c:pt>
                <c:pt idx="43">
                  <c:v>2448</c:v>
                </c:pt>
                <c:pt idx="44">
                  <c:v>2442</c:v>
                </c:pt>
                <c:pt idx="45">
                  <c:v>2402</c:v>
                </c:pt>
                <c:pt idx="46">
                  <c:v>2106</c:v>
                </c:pt>
                <c:pt idx="47">
                  <c:v>2224</c:v>
                </c:pt>
                <c:pt idx="48">
                  <c:v>2168</c:v>
                </c:pt>
                <c:pt idx="49">
                  <c:v>1368</c:v>
                </c:pt>
                <c:pt idx="50">
                  <c:v>886</c:v>
                </c:pt>
                <c:pt idx="51">
                  <c:v>632</c:v>
                </c:pt>
                <c:pt idx="52">
                  <c:v>390</c:v>
                </c:pt>
                <c:pt idx="53">
                  <c:v>632</c:v>
                </c:pt>
                <c:pt idx="54">
                  <c:v>380</c:v>
                </c:pt>
                <c:pt idx="55">
                  <c:v>148</c:v>
                </c:pt>
                <c:pt idx="56">
                  <c:v>142</c:v>
                </c:pt>
                <c:pt idx="57">
                  <c:v>72</c:v>
                </c:pt>
                <c:pt idx="58">
                  <c:v>150</c:v>
                </c:pt>
                <c:pt idx="59">
                  <c:v>164</c:v>
                </c:pt>
                <c:pt idx="60">
                  <c:v>200</c:v>
                </c:pt>
                <c:pt idx="61">
                  <c:v>180</c:v>
                </c:pt>
                <c:pt idx="62">
                  <c:v>206</c:v>
                </c:pt>
                <c:pt idx="63">
                  <c:v>90</c:v>
                </c:pt>
                <c:pt idx="64">
                  <c:v>178</c:v>
                </c:pt>
                <c:pt idx="65">
                  <c:v>56</c:v>
                </c:pt>
                <c:pt idx="66">
                  <c:v>112</c:v>
                </c:pt>
                <c:pt idx="67">
                  <c:v>88</c:v>
                </c:pt>
                <c:pt idx="68">
                  <c:v>56</c:v>
                </c:pt>
                <c:pt idx="69">
                  <c:v>112</c:v>
                </c:pt>
                <c:pt idx="70">
                  <c:v>42</c:v>
                </c:pt>
                <c:pt idx="71">
                  <c:v>40</c:v>
                </c:pt>
                <c:pt idx="72">
                  <c:v>98</c:v>
                </c:pt>
                <c:pt idx="73">
                  <c:v>50</c:v>
                </c:pt>
                <c:pt idx="74">
                  <c:v>62</c:v>
                </c:pt>
                <c:pt idx="75">
                  <c:v>48</c:v>
                </c:pt>
                <c:pt idx="76">
                  <c:v>28</c:v>
                </c:pt>
                <c:pt idx="77">
                  <c:v>32</c:v>
                </c:pt>
                <c:pt idx="78">
                  <c:v>24</c:v>
                </c:pt>
                <c:pt idx="79">
                  <c:v>12</c:v>
                </c:pt>
                <c:pt idx="80">
                  <c:v>18</c:v>
                </c:pt>
                <c:pt idx="81">
                  <c:v>16</c:v>
                </c:pt>
                <c:pt idx="82">
                  <c:v>12</c:v>
                </c:pt>
                <c:pt idx="83">
                  <c:v>20</c:v>
                </c:pt>
                <c:pt idx="84">
                  <c:v>8</c:v>
                </c:pt>
                <c:pt idx="85">
                  <c:v>28</c:v>
                </c:pt>
                <c:pt idx="86">
                  <c:v>8</c:v>
                </c:pt>
                <c:pt idx="87">
                  <c:v>44</c:v>
                </c:pt>
                <c:pt idx="88">
                  <c:v>22</c:v>
                </c:pt>
                <c:pt idx="89">
                  <c:v>12</c:v>
                </c:pt>
                <c:pt idx="90">
                  <c:v>12</c:v>
                </c:pt>
                <c:pt idx="91">
                  <c:v>4</c:v>
                </c:pt>
                <c:pt idx="92">
                  <c:v>2</c:v>
                </c:pt>
                <c:pt idx="93">
                  <c:v>16</c:v>
                </c:pt>
                <c:pt idx="94">
                  <c:v>4</c:v>
                </c:pt>
                <c:pt idx="95">
                  <c:v>4</c:v>
                </c:pt>
                <c:pt idx="96">
                  <c:v>6</c:v>
                </c:pt>
                <c:pt idx="97">
                  <c:v>24</c:v>
                </c:pt>
                <c:pt idx="98">
                  <c:v>8</c:v>
                </c:pt>
                <c:pt idx="99">
                  <c:v>4</c:v>
                </c:pt>
                <c:pt idx="100">
                  <c:v>32</c:v>
                </c:pt>
                <c:pt idx="101">
                  <c:v>10</c:v>
                </c:pt>
                <c:pt idx="102">
                  <c:v>36</c:v>
                </c:pt>
                <c:pt idx="103">
                  <c:v>62</c:v>
                </c:pt>
                <c:pt idx="104">
                  <c:v>190</c:v>
                </c:pt>
                <c:pt idx="105">
                  <c:v>922</c:v>
                </c:pt>
                <c:pt idx="106">
                  <c:v>159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54</c:v>
                </c:pt>
                <c:pt idx="1">
                  <c:v>12</c:v>
                </c:pt>
                <c:pt idx="2">
                  <c:v>30</c:v>
                </c:pt>
                <c:pt idx="3">
                  <c:v>32</c:v>
                </c:pt>
                <c:pt idx="4">
                  <c:v>10</c:v>
                </c:pt>
                <c:pt idx="5">
                  <c:v>94</c:v>
                </c:pt>
                <c:pt idx="6">
                  <c:v>152</c:v>
                </c:pt>
                <c:pt idx="7">
                  <c:v>176</c:v>
                </c:pt>
                <c:pt idx="8">
                  <c:v>74</c:v>
                </c:pt>
                <c:pt idx="9">
                  <c:v>118</c:v>
                </c:pt>
                <c:pt idx="10">
                  <c:v>148</c:v>
                </c:pt>
                <c:pt idx="11">
                  <c:v>154</c:v>
                </c:pt>
                <c:pt idx="12">
                  <c:v>180</c:v>
                </c:pt>
                <c:pt idx="13">
                  <c:v>184</c:v>
                </c:pt>
                <c:pt idx="14">
                  <c:v>98</c:v>
                </c:pt>
                <c:pt idx="15">
                  <c:v>158</c:v>
                </c:pt>
                <c:pt idx="16">
                  <c:v>136</c:v>
                </c:pt>
                <c:pt idx="17">
                  <c:v>172</c:v>
                </c:pt>
                <c:pt idx="18">
                  <c:v>152</c:v>
                </c:pt>
                <c:pt idx="19">
                  <c:v>134</c:v>
                </c:pt>
                <c:pt idx="20">
                  <c:v>196</c:v>
                </c:pt>
                <c:pt idx="21">
                  <c:v>128</c:v>
                </c:pt>
                <c:pt idx="22">
                  <c:v>218</c:v>
                </c:pt>
                <c:pt idx="23">
                  <c:v>218</c:v>
                </c:pt>
                <c:pt idx="24">
                  <c:v>152</c:v>
                </c:pt>
                <c:pt idx="25">
                  <c:v>184</c:v>
                </c:pt>
                <c:pt idx="26">
                  <c:v>246</c:v>
                </c:pt>
                <c:pt idx="27">
                  <c:v>148</c:v>
                </c:pt>
                <c:pt idx="28">
                  <c:v>162</c:v>
                </c:pt>
                <c:pt idx="29">
                  <c:v>166</c:v>
                </c:pt>
                <c:pt idx="30">
                  <c:v>120</c:v>
                </c:pt>
                <c:pt idx="31">
                  <c:v>144</c:v>
                </c:pt>
                <c:pt idx="32">
                  <c:v>158</c:v>
                </c:pt>
                <c:pt idx="33">
                  <c:v>86</c:v>
                </c:pt>
                <c:pt idx="34">
                  <c:v>84</c:v>
                </c:pt>
                <c:pt idx="35">
                  <c:v>104</c:v>
                </c:pt>
                <c:pt idx="36">
                  <c:v>160</c:v>
                </c:pt>
                <c:pt idx="37">
                  <c:v>164</c:v>
                </c:pt>
                <c:pt idx="38">
                  <c:v>134</c:v>
                </c:pt>
                <c:pt idx="39">
                  <c:v>184</c:v>
                </c:pt>
                <c:pt idx="40">
                  <c:v>880</c:v>
                </c:pt>
                <c:pt idx="41">
                  <c:v>1438</c:v>
                </c:pt>
                <c:pt idx="42">
                  <c:v>1648</c:v>
                </c:pt>
                <c:pt idx="43">
                  <c:v>1730</c:v>
                </c:pt>
                <c:pt idx="44">
                  <c:v>2172</c:v>
                </c:pt>
                <c:pt idx="45">
                  <c:v>2672</c:v>
                </c:pt>
                <c:pt idx="46">
                  <c:v>5026</c:v>
                </c:pt>
                <c:pt idx="47">
                  <c:v>4780</c:v>
                </c:pt>
                <c:pt idx="48">
                  <c:v>7410</c:v>
                </c:pt>
                <c:pt idx="49">
                  <c:v>12784</c:v>
                </c:pt>
                <c:pt idx="50">
                  <c:v>31090</c:v>
                </c:pt>
                <c:pt idx="51">
                  <c:v>101588</c:v>
                </c:pt>
                <c:pt idx="52">
                  <c:v>25656</c:v>
                </c:pt>
                <c:pt idx="53">
                  <c:v>7244</c:v>
                </c:pt>
                <c:pt idx="54">
                  <c:v>5920</c:v>
                </c:pt>
                <c:pt idx="55">
                  <c:v>4752</c:v>
                </c:pt>
                <c:pt idx="56">
                  <c:v>2256</c:v>
                </c:pt>
                <c:pt idx="57">
                  <c:v>1500</c:v>
                </c:pt>
                <c:pt idx="58">
                  <c:v>790</c:v>
                </c:pt>
                <c:pt idx="59">
                  <c:v>712</c:v>
                </c:pt>
                <c:pt idx="60">
                  <c:v>528</c:v>
                </c:pt>
                <c:pt idx="61">
                  <c:v>168</c:v>
                </c:pt>
                <c:pt idx="62">
                  <c:v>164</c:v>
                </c:pt>
                <c:pt idx="63">
                  <c:v>330</c:v>
                </c:pt>
                <c:pt idx="64">
                  <c:v>114</c:v>
                </c:pt>
                <c:pt idx="65">
                  <c:v>38</c:v>
                </c:pt>
                <c:pt idx="66">
                  <c:v>48</c:v>
                </c:pt>
                <c:pt idx="67">
                  <c:v>36</c:v>
                </c:pt>
                <c:pt idx="68">
                  <c:v>60</c:v>
                </c:pt>
                <c:pt idx="69">
                  <c:v>16</c:v>
                </c:pt>
                <c:pt idx="70">
                  <c:v>26</c:v>
                </c:pt>
                <c:pt idx="71">
                  <c:v>40</c:v>
                </c:pt>
                <c:pt idx="72">
                  <c:v>92</c:v>
                </c:pt>
                <c:pt idx="73">
                  <c:v>0</c:v>
                </c:pt>
                <c:pt idx="74">
                  <c:v>0</c:v>
                </c:pt>
                <c:pt idx="75">
                  <c:v>66</c:v>
                </c:pt>
                <c:pt idx="76">
                  <c:v>10</c:v>
                </c:pt>
                <c:pt idx="77">
                  <c:v>14</c:v>
                </c:pt>
                <c:pt idx="78">
                  <c:v>50</c:v>
                </c:pt>
                <c:pt idx="79">
                  <c:v>62</c:v>
                </c:pt>
                <c:pt idx="80">
                  <c:v>62</c:v>
                </c:pt>
                <c:pt idx="81">
                  <c:v>10</c:v>
                </c:pt>
                <c:pt idx="82">
                  <c:v>6</c:v>
                </c:pt>
                <c:pt idx="83">
                  <c:v>8</c:v>
                </c:pt>
                <c:pt idx="84">
                  <c:v>0</c:v>
                </c:pt>
                <c:pt idx="85">
                  <c:v>0</c:v>
                </c:pt>
                <c:pt idx="86">
                  <c:v>0</c:v>
                </c:pt>
                <c:pt idx="87">
                  <c:v>2</c:v>
                </c:pt>
                <c:pt idx="88">
                  <c:v>4</c:v>
                </c:pt>
                <c:pt idx="89">
                  <c:v>2</c:v>
                </c:pt>
                <c:pt idx="90">
                  <c:v>16</c:v>
                </c:pt>
                <c:pt idx="91">
                  <c:v>4</c:v>
                </c:pt>
                <c:pt idx="92">
                  <c:v>10</c:v>
                </c:pt>
                <c:pt idx="93">
                  <c:v>4</c:v>
                </c:pt>
                <c:pt idx="94">
                  <c:v>14</c:v>
                </c:pt>
                <c:pt idx="95">
                  <c:v>0</c:v>
                </c:pt>
                <c:pt idx="96">
                  <c:v>12</c:v>
                </c:pt>
                <c:pt idx="97">
                  <c:v>2</c:v>
                </c:pt>
                <c:pt idx="98">
                  <c:v>0</c:v>
                </c:pt>
                <c:pt idx="99">
                  <c:v>0</c:v>
                </c:pt>
                <c:pt idx="100">
                  <c:v>8</c:v>
                </c:pt>
                <c:pt idx="101">
                  <c:v>10</c:v>
                </c:pt>
                <c:pt idx="102">
                  <c:v>0</c:v>
                </c:pt>
                <c:pt idx="103">
                  <c:v>8</c:v>
                </c:pt>
                <c:pt idx="104">
                  <c:v>4</c:v>
                </c:pt>
                <c:pt idx="105">
                  <c:v>14</c:v>
                </c:pt>
                <c:pt idx="106">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0</c:v>
                </c:pt>
                <c:pt idx="101">
                  <c:v>5</c:v>
                </c:pt>
                <c:pt idx="102">
                  <c:v>20</c:v>
                </c:pt>
                <c:pt idx="103">
                  <c:v>10</c:v>
                </c:pt>
                <c:pt idx="104">
                  <c:v>0</c:v>
                </c:pt>
                <c:pt idx="105">
                  <c:v>5</c:v>
                </c:pt>
                <c:pt idx="106">
                  <c:v>5</c:v>
                </c:pt>
                <c:pt idx="107">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450</c:v>
                </c:pt>
                <c:pt idx="1">
                  <c:v>90402</c:v>
                </c:pt>
                <c:pt idx="2">
                  <c:v>92029</c:v>
                </c:pt>
                <c:pt idx="3">
                  <c:v>90466</c:v>
                </c:pt>
                <c:pt idx="4">
                  <c:v>93722</c:v>
                </c:pt>
                <c:pt idx="5">
                  <c:v>89629</c:v>
                </c:pt>
                <c:pt idx="6">
                  <c:v>83585</c:v>
                </c:pt>
                <c:pt idx="7">
                  <c:v>85016</c:v>
                </c:pt>
                <c:pt idx="8">
                  <c:v>92907</c:v>
                </c:pt>
                <c:pt idx="9">
                  <c:v>85455</c:v>
                </c:pt>
                <c:pt idx="10">
                  <c:v>85414</c:v>
                </c:pt>
                <c:pt idx="11">
                  <c:v>86377</c:v>
                </c:pt>
                <c:pt idx="12">
                  <c:v>83839</c:v>
                </c:pt>
                <c:pt idx="13">
                  <c:v>92333</c:v>
                </c:pt>
                <c:pt idx="14">
                  <c:v>80286</c:v>
                </c:pt>
                <c:pt idx="15">
                  <c:v>82212</c:v>
                </c:pt>
                <c:pt idx="16">
                  <c:v>82434</c:v>
                </c:pt>
                <c:pt idx="17">
                  <c:v>94186</c:v>
                </c:pt>
                <c:pt idx="18">
                  <c:v>89026</c:v>
                </c:pt>
                <c:pt idx="19">
                  <c:v>87068</c:v>
                </c:pt>
                <c:pt idx="20">
                  <c:v>95003</c:v>
                </c:pt>
                <c:pt idx="21">
                  <c:v>97486</c:v>
                </c:pt>
                <c:pt idx="22">
                  <c:v>96907</c:v>
                </c:pt>
                <c:pt idx="23">
                  <c:v>93922</c:v>
                </c:pt>
                <c:pt idx="24">
                  <c:v>93132</c:v>
                </c:pt>
                <c:pt idx="25">
                  <c:v>94456</c:v>
                </c:pt>
                <c:pt idx="26">
                  <c:v>97816</c:v>
                </c:pt>
                <c:pt idx="27">
                  <c:v>88651</c:v>
                </c:pt>
                <c:pt idx="28">
                  <c:v>86317</c:v>
                </c:pt>
                <c:pt idx="29">
                  <c:v>84994</c:v>
                </c:pt>
                <c:pt idx="30">
                  <c:v>90949</c:v>
                </c:pt>
                <c:pt idx="31">
                  <c:v>85833</c:v>
                </c:pt>
                <c:pt idx="32">
                  <c:v>87421</c:v>
                </c:pt>
                <c:pt idx="33">
                  <c:v>83904</c:v>
                </c:pt>
                <c:pt idx="34">
                  <c:v>85570</c:v>
                </c:pt>
                <c:pt idx="35">
                  <c:v>91155</c:v>
                </c:pt>
                <c:pt idx="36">
                  <c:v>90311</c:v>
                </c:pt>
                <c:pt idx="37">
                  <c:v>87960</c:v>
                </c:pt>
                <c:pt idx="38">
                  <c:v>83702</c:v>
                </c:pt>
                <c:pt idx="39">
                  <c:v>83889</c:v>
                </c:pt>
                <c:pt idx="40">
                  <c:v>72209</c:v>
                </c:pt>
                <c:pt idx="41">
                  <c:v>72787</c:v>
                </c:pt>
                <c:pt idx="42">
                  <c:v>72251</c:v>
                </c:pt>
                <c:pt idx="43">
                  <c:v>76903</c:v>
                </c:pt>
                <c:pt idx="44">
                  <c:v>85286</c:v>
                </c:pt>
                <c:pt idx="45">
                  <c:v>84770</c:v>
                </c:pt>
                <c:pt idx="46">
                  <c:v>79290</c:v>
                </c:pt>
                <c:pt idx="47">
                  <c:v>82584</c:v>
                </c:pt>
                <c:pt idx="48">
                  <c:v>86697</c:v>
                </c:pt>
                <c:pt idx="49">
                  <c:v>80942</c:v>
                </c:pt>
                <c:pt idx="50">
                  <c:v>85038</c:v>
                </c:pt>
                <c:pt idx="51">
                  <c:v>59207</c:v>
                </c:pt>
                <c:pt idx="52">
                  <c:v>70361</c:v>
                </c:pt>
                <c:pt idx="53">
                  <c:v>73694</c:v>
                </c:pt>
                <c:pt idx="54">
                  <c:v>87469</c:v>
                </c:pt>
                <c:pt idx="55">
                  <c:v>96817</c:v>
                </c:pt>
                <c:pt idx="56">
                  <c:v>89581</c:v>
                </c:pt>
                <c:pt idx="57">
                  <c:v>79347</c:v>
                </c:pt>
                <c:pt idx="58">
                  <c:v>68612</c:v>
                </c:pt>
                <c:pt idx="59">
                  <c:v>65512</c:v>
                </c:pt>
                <c:pt idx="60">
                  <c:v>65189</c:v>
                </c:pt>
                <c:pt idx="61">
                  <c:v>64865</c:v>
                </c:pt>
                <c:pt idx="62">
                  <c:v>69450</c:v>
                </c:pt>
                <c:pt idx="63">
                  <c:v>79508</c:v>
                </c:pt>
                <c:pt idx="64">
                  <c:v>81883</c:v>
                </c:pt>
                <c:pt idx="65">
                  <c:v>82500</c:v>
                </c:pt>
                <c:pt idx="66">
                  <c:v>78944</c:v>
                </c:pt>
                <c:pt idx="67">
                  <c:v>77756</c:v>
                </c:pt>
                <c:pt idx="68">
                  <c:v>77908</c:v>
                </c:pt>
                <c:pt idx="69">
                  <c:v>81800</c:v>
                </c:pt>
                <c:pt idx="70">
                  <c:v>80072</c:v>
                </c:pt>
                <c:pt idx="71">
                  <c:v>76579</c:v>
                </c:pt>
                <c:pt idx="72">
                  <c:v>91422</c:v>
                </c:pt>
                <c:pt idx="73">
                  <c:v>98330</c:v>
                </c:pt>
                <c:pt idx="74">
                  <c:v>104843</c:v>
                </c:pt>
                <c:pt idx="75">
                  <c:v>100263</c:v>
                </c:pt>
                <c:pt idx="76">
                  <c:v>99287</c:v>
                </c:pt>
                <c:pt idx="77">
                  <c:v>99414</c:v>
                </c:pt>
                <c:pt idx="78">
                  <c:v>108565</c:v>
                </c:pt>
                <c:pt idx="79">
                  <c:v>89339</c:v>
                </c:pt>
                <c:pt idx="80">
                  <c:v>83627</c:v>
                </c:pt>
                <c:pt idx="81">
                  <c:v>79475</c:v>
                </c:pt>
                <c:pt idx="82">
                  <c:v>83906</c:v>
                </c:pt>
                <c:pt idx="83">
                  <c:v>95696</c:v>
                </c:pt>
                <c:pt idx="84">
                  <c:v>95067</c:v>
                </c:pt>
                <c:pt idx="85">
                  <c:v>97989</c:v>
                </c:pt>
                <c:pt idx="86">
                  <c:v>93908</c:v>
                </c:pt>
                <c:pt idx="87">
                  <c:v>98511</c:v>
                </c:pt>
                <c:pt idx="88">
                  <c:v>91856</c:v>
                </c:pt>
                <c:pt idx="89">
                  <c:v>92940</c:v>
                </c:pt>
                <c:pt idx="90">
                  <c:v>85187</c:v>
                </c:pt>
                <c:pt idx="91">
                  <c:v>93105</c:v>
                </c:pt>
                <c:pt idx="92">
                  <c:v>75556</c:v>
                </c:pt>
                <c:pt idx="93">
                  <c:v>72755</c:v>
                </c:pt>
                <c:pt idx="94">
                  <c:v>81165</c:v>
                </c:pt>
                <c:pt idx="95">
                  <c:v>90943</c:v>
                </c:pt>
                <c:pt idx="96">
                  <c:v>96055</c:v>
                </c:pt>
                <c:pt idx="97">
                  <c:v>72278</c:v>
                </c:pt>
                <c:pt idx="98">
                  <c:v>23330</c:v>
                </c:pt>
                <c:pt idx="99">
                  <c:v>22143</c:v>
                </c:pt>
                <c:pt idx="100">
                  <c:v>24683</c:v>
                </c:pt>
                <c:pt idx="101">
                  <c:v>23055</c:v>
                </c:pt>
                <c:pt idx="102">
                  <c:v>25078</c:v>
                </c:pt>
                <c:pt idx="103">
                  <c:v>25626</c:v>
                </c:pt>
                <c:pt idx="104">
                  <c:v>21307</c:v>
                </c:pt>
                <c:pt idx="105">
                  <c:v>21189</c:v>
                </c:pt>
                <c:pt idx="106">
                  <c:v>24874</c:v>
                </c:pt>
                <c:pt idx="107">
                  <c:v>2461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72</c:v>
                </c:pt>
                <c:pt idx="1">
                  <c:v>37906</c:v>
                </c:pt>
                <c:pt idx="2">
                  <c:v>46880</c:v>
                </c:pt>
                <c:pt idx="3">
                  <c:v>29094</c:v>
                </c:pt>
                <c:pt idx="4">
                  <c:v>17969</c:v>
                </c:pt>
                <c:pt idx="5">
                  <c:v>22358</c:v>
                </c:pt>
                <c:pt idx="6">
                  <c:v>21109</c:v>
                </c:pt>
                <c:pt idx="7">
                  <c:v>24565</c:v>
                </c:pt>
                <c:pt idx="8">
                  <c:v>14970</c:v>
                </c:pt>
                <c:pt idx="9">
                  <c:v>14080</c:v>
                </c:pt>
                <c:pt idx="10">
                  <c:v>18131</c:v>
                </c:pt>
                <c:pt idx="11">
                  <c:v>14440</c:v>
                </c:pt>
                <c:pt idx="12">
                  <c:v>11791</c:v>
                </c:pt>
                <c:pt idx="13">
                  <c:v>11226</c:v>
                </c:pt>
                <c:pt idx="14">
                  <c:v>11741</c:v>
                </c:pt>
                <c:pt idx="15">
                  <c:v>18786</c:v>
                </c:pt>
                <c:pt idx="16">
                  <c:v>10885</c:v>
                </c:pt>
                <c:pt idx="17">
                  <c:v>2857</c:v>
                </c:pt>
                <c:pt idx="18">
                  <c:v>1321</c:v>
                </c:pt>
                <c:pt idx="19">
                  <c:v>1215</c:v>
                </c:pt>
                <c:pt idx="20">
                  <c:v>2252</c:v>
                </c:pt>
                <c:pt idx="21">
                  <c:v>657</c:v>
                </c:pt>
                <c:pt idx="22">
                  <c:v>484</c:v>
                </c:pt>
                <c:pt idx="23">
                  <c:v>900</c:v>
                </c:pt>
                <c:pt idx="24">
                  <c:v>542</c:v>
                </c:pt>
                <c:pt idx="25">
                  <c:v>486</c:v>
                </c:pt>
                <c:pt idx="26">
                  <c:v>451</c:v>
                </c:pt>
                <c:pt idx="27">
                  <c:v>7863</c:v>
                </c:pt>
                <c:pt idx="28">
                  <c:v>19149</c:v>
                </c:pt>
                <c:pt idx="29">
                  <c:v>15041</c:v>
                </c:pt>
                <c:pt idx="30">
                  <c:v>14494</c:v>
                </c:pt>
                <c:pt idx="31">
                  <c:v>13017</c:v>
                </c:pt>
                <c:pt idx="32">
                  <c:v>12478</c:v>
                </c:pt>
                <c:pt idx="33">
                  <c:v>13304</c:v>
                </c:pt>
                <c:pt idx="34">
                  <c:v>14924</c:v>
                </c:pt>
                <c:pt idx="35">
                  <c:v>6016</c:v>
                </c:pt>
                <c:pt idx="36">
                  <c:v>773</c:v>
                </c:pt>
                <c:pt idx="37">
                  <c:v>391</c:v>
                </c:pt>
                <c:pt idx="38">
                  <c:v>5692</c:v>
                </c:pt>
                <c:pt idx="39">
                  <c:v>9825</c:v>
                </c:pt>
                <c:pt idx="40">
                  <c:v>22331</c:v>
                </c:pt>
                <c:pt idx="41">
                  <c:v>26820</c:v>
                </c:pt>
                <c:pt idx="42">
                  <c:v>26380</c:v>
                </c:pt>
                <c:pt idx="43">
                  <c:v>25008</c:v>
                </c:pt>
                <c:pt idx="44">
                  <c:v>17327</c:v>
                </c:pt>
                <c:pt idx="45">
                  <c:v>19555</c:v>
                </c:pt>
                <c:pt idx="46">
                  <c:v>31929</c:v>
                </c:pt>
                <c:pt idx="47">
                  <c:v>31529</c:v>
                </c:pt>
                <c:pt idx="48">
                  <c:v>41962</c:v>
                </c:pt>
                <c:pt idx="49">
                  <c:v>77019</c:v>
                </c:pt>
                <c:pt idx="50">
                  <c:v>133706</c:v>
                </c:pt>
                <c:pt idx="51">
                  <c:v>248232</c:v>
                </c:pt>
                <c:pt idx="52">
                  <c:v>34844</c:v>
                </c:pt>
                <c:pt idx="53">
                  <c:v>27118</c:v>
                </c:pt>
                <c:pt idx="54">
                  <c:v>18729</c:v>
                </c:pt>
                <c:pt idx="55">
                  <c:v>11129</c:v>
                </c:pt>
                <c:pt idx="56">
                  <c:v>20774</c:v>
                </c:pt>
                <c:pt idx="57">
                  <c:v>34174</c:v>
                </c:pt>
                <c:pt idx="58">
                  <c:v>38165</c:v>
                </c:pt>
                <c:pt idx="59">
                  <c:v>60032</c:v>
                </c:pt>
                <c:pt idx="60">
                  <c:v>52796</c:v>
                </c:pt>
                <c:pt idx="61">
                  <c:v>48706</c:v>
                </c:pt>
                <c:pt idx="62">
                  <c:v>38511</c:v>
                </c:pt>
                <c:pt idx="63">
                  <c:v>30702</c:v>
                </c:pt>
                <c:pt idx="64">
                  <c:v>23867</c:v>
                </c:pt>
                <c:pt idx="65">
                  <c:v>24160</c:v>
                </c:pt>
                <c:pt idx="66">
                  <c:v>23147</c:v>
                </c:pt>
                <c:pt idx="67">
                  <c:v>26906</c:v>
                </c:pt>
                <c:pt idx="68">
                  <c:v>19945</c:v>
                </c:pt>
                <c:pt idx="69">
                  <c:v>20792</c:v>
                </c:pt>
                <c:pt idx="70">
                  <c:v>19828</c:v>
                </c:pt>
                <c:pt idx="71">
                  <c:v>19666</c:v>
                </c:pt>
                <c:pt idx="72">
                  <c:v>13800</c:v>
                </c:pt>
                <c:pt idx="73">
                  <c:v>283</c:v>
                </c:pt>
                <c:pt idx="74">
                  <c:v>422</c:v>
                </c:pt>
                <c:pt idx="75">
                  <c:v>369</c:v>
                </c:pt>
                <c:pt idx="76">
                  <c:v>729</c:v>
                </c:pt>
                <c:pt idx="77">
                  <c:v>246</c:v>
                </c:pt>
                <c:pt idx="78">
                  <c:v>680</c:v>
                </c:pt>
                <c:pt idx="79">
                  <c:v>11671</c:v>
                </c:pt>
                <c:pt idx="80">
                  <c:v>21933</c:v>
                </c:pt>
                <c:pt idx="81">
                  <c:v>22236</c:v>
                </c:pt>
                <c:pt idx="82">
                  <c:v>20768</c:v>
                </c:pt>
                <c:pt idx="83">
                  <c:v>5914</c:v>
                </c:pt>
                <c:pt idx="84">
                  <c:v>4807</c:v>
                </c:pt>
                <c:pt idx="85">
                  <c:v>356</c:v>
                </c:pt>
                <c:pt idx="86">
                  <c:v>3278</c:v>
                </c:pt>
                <c:pt idx="87">
                  <c:v>455</c:v>
                </c:pt>
                <c:pt idx="88">
                  <c:v>525</c:v>
                </c:pt>
                <c:pt idx="89">
                  <c:v>425</c:v>
                </c:pt>
                <c:pt idx="90">
                  <c:v>5691</c:v>
                </c:pt>
                <c:pt idx="91">
                  <c:v>12529</c:v>
                </c:pt>
                <c:pt idx="92">
                  <c:v>23342</c:v>
                </c:pt>
                <c:pt idx="93">
                  <c:v>31967</c:v>
                </c:pt>
                <c:pt idx="94">
                  <c:v>20891</c:v>
                </c:pt>
                <c:pt idx="95">
                  <c:v>10671</c:v>
                </c:pt>
                <c:pt idx="96">
                  <c:v>13507</c:v>
                </c:pt>
                <c:pt idx="97">
                  <c:v>39682</c:v>
                </c:pt>
                <c:pt idx="98">
                  <c:v>93818</c:v>
                </c:pt>
                <c:pt idx="99">
                  <c:v>103439</c:v>
                </c:pt>
                <c:pt idx="100">
                  <c:v>114095</c:v>
                </c:pt>
                <c:pt idx="101">
                  <c:v>129821</c:v>
                </c:pt>
                <c:pt idx="102">
                  <c:v>164996</c:v>
                </c:pt>
                <c:pt idx="103">
                  <c:v>275385</c:v>
                </c:pt>
                <c:pt idx="104">
                  <c:v>84730</c:v>
                </c:pt>
                <c:pt idx="105">
                  <c:v>73287</c:v>
                </c:pt>
                <c:pt idx="106">
                  <c:v>71775</c:v>
                </c:pt>
                <c:pt idx="107">
                  <c:v>6396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4</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61566</c:v>
                </c:pt>
                <c:pt idx="1">
                  <c:v>61170</c:v>
                </c:pt>
                <c:pt idx="2">
                  <c:v>66702</c:v>
                </c:pt>
                <c:pt idx="3">
                  <c:v>67722</c:v>
                </c:pt>
                <c:pt idx="4">
                  <c:v>71638</c:v>
                </c:pt>
                <c:pt idx="5">
                  <c:v>69750</c:v>
                </c:pt>
                <c:pt idx="6">
                  <c:v>63344</c:v>
                </c:pt>
                <c:pt idx="7">
                  <c:v>61562</c:v>
                </c:pt>
                <c:pt idx="8">
                  <c:v>59626</c:v>
                </c:pt>
                <c:pt idx="9">
                  <c:v>56366</c:v>
                </c:pt>
                <c:pt idx="10">
                  <c:v>44254</c:v>
                </c:pt>
                <c:pt idx="11">
                  <c:v>37130</c:v>
                </c:pt>
                <c:pt idx="12">
                  <c:v>29910</c:v>
                </c:pt>
                <c:pt idx="13">
                  <c:v>26064</c:v>
                </c:pt>
                <c:pt idx="14">
                  <c:v>20988</c:v>
                </c:pt>
                <c:pt idx="15">
                  <c:v>48042</c:v>
                </c:pt>
                <c:pt idx="16">
                  <c:v>71042</c:v>
                </c:pt>
                <c:pt idx="17">
                  <c:v>80096</c:v>
                </c:pt>
                <c:pt idx="18">
                  <c:v>77012</c:v>
                </c:pt>
                <c:pt idx="19">
                  <c:v>76214</c:v>
                </c:pt>
                <c:pt idx="20">
                  <c:v>79650</c:v>
                </c:pt>
                <c:pt idx="21">
                  <c:v>84564</c:v>
                </c:pt>
                <c:pt idx="22">
                  <c:v>84620</c:v>
                </c:pt>
                <c:pt idx="23">
                  <c:v>82700</c:v>
                </c:pt>
                <c:pt idx="24">
                  <c:v>80707</c:v>
                </c:pt>
                <c:pt idx="25">
                  <c:v>84221</c:v>
                </c:pt>
                <c:pt idx="26">
                  <c:v>86608</c:v>
                </c:pt>
                <c:pt idx="27">
                  <c:v>84202</c:v>
                </c:pt>
                <c:pt idx="28">
                  <c:v>82800</c:v>
                </c:pt>
                <c:pt idx="29">
                  <c:v>81044</c:v>
                </c:pt>
                <c:pt idx="30">
                  <c:v>89110</c:v>
                </c:pt>
                <c:pt idx="31">
                  <c:v>84362</c:v>
                </c:pt>
                <c:pt idx="32">
                  <c:v>84124</c:v>
                </c:pt>
                <c:pt idx="33">
                  <c:v>82090</c:v>
                </c:pt>
                <c:pt idx="34">
                  <c:v>83732</c:v>
                </c:pt>
                <c:pt idx="35">
                  <c:v>82390</c:v>
                </c:pt>
                <c:pt idx="36">
                  <c:v>76510</c:v>
                </c:pt>
                <c:pt idx="37">
                  <c:v>77684</c:v>
                </c:pt>
                <c:pt idx="38">
                  <c:v>77686</c:v>
                </c:pt>
                <c:pt idx="39">
                  <c:v>81302</c:v>
                </c:pt>
                <c:pt idx="40">
                  <c:v>77286</c:v>
                </c:pt>
                <c:pt idx="41">
                  <c:v>76338</c:v>
                </c:pt>
                <c:pt idx="42">
                  <c:v>76620</c:v>
                </c:pt>
                <c:pt idx="43">
                  <c:v>80000</c:v>
                </c:pt>
                <c:pt idx="44">
                  <c:v>81822</c:v>
                </c:pt>
                <c:pt idx="45">
                  <c:v>77134</c:v>
                </c:pt>
                <c:pt idx="46">
                  <c:v>73362</c:v>
                </c:pt>
                <c:pt idx="47">
                  <c:v>80000</c:v>
                </c:pt>
                <c:pt idx="48">
                  <c:v>83452</c:v>
                </c:pt>
                <c:pt idx="49">
                  <c:v>81266</c:v>
                </c:pt>
                <c:pt idx="50">
                  <c:v>93586</c:v>
                </c:pt>
                <c:pt idx="51">
                  <c:v>71960</c:v>
                </c:pt>
                <c:pt idx="52">
                  <c:v>82048</c:v>
                </c:pt>
                <c:pt idx="53">
                  <c:v>77178</c:v>
                </c:pt>
                <c:pt idx="54">
                  <c:v>71580</c:v>
                </c:pt>
                <c:pt idx="55">
                  <c:v>74456</c:v>
                </c:pt>
                <c:pt idx="56">
                  <c:v>76648</c:v>
                </c:pt>
                <c:pt idx="57">
                  <c:v>77172</c:v>
                </c:pt>
                <c:pt idx="58">
                  <c:v>73668</c:v>
                </c:pt>
                <c:pt idx="59">
                  <c:v>77524</c:v>
                </c:pt>
                <c:pt idx="60">
                  <c:v>81326</c:v>
                </c:pt>
                <c:pt idx="61">
                  <c:v>81752</c:v>
                </c:pt>
                <c:pt idx="62">
                  <c:v>77696</c:v>
                </c:pt>
                <c:pt idx="63">
                  <c:v>73984</c:v>
                </c:pt>
                <c:pt idx="64">
                  <c:v>76520</c:v>
                </c:pt>
                <c:pt idx="65">
                  <c:v>79506</c:v>
                </c:pt>
                <c:pt idx="66">
                  <c:v>79171</c:v>
                </c:pt>
                <c:pt idx="67">
                  <c:v>79030</c:v>
                </c:pt>
                <c:pt idx="68">
                  <c:v>76806</c:v>
                </c:pt>
                <c:pt idx="69">
                  <c:v>82506</c:v>
                </c:pt>
                <c:pt idx="70">
                  <c:v>80032</c:v>
                </c:pt>
                <c:pt idx="71">
                  <c:v>74224</c:v>
                </c:pt>
                <c:pt idx="72">
                  <c:v>79198</c:v>
                </c:pt>
                <c:pt idx="73">
                  <c:v>77378</c:v>
                </c:pt>
                <c:pt idx="74">
                  <c:v>85692</c:v>
                </c:pt>
                <c:pt idx="75">
                  <c:v>79574</c:v>
                </c:pt>
                <c:pt idx="76">
                  <c:v>79338</c:v>
                </c:pt>
                <c:pt idx="77">
                  <c:v>76834</c:v>
                </c:pt>
                <c:pt idx="78">
                  <c:v>81276</c:v>
                </c:pt>
                <c:pt idx="79">
                  <c:v>72604</c:v>
                </c:pt>
                <c:pt idx="80">
                  <c:v>73024</c:v>
                </c:pt>
                <c:pt idx="81">
                  <c:v>74804</c:v>
                </c:pt>
                <c:pt idx="82">
                  <c:v>82432</c:v>
                </c:pt>
                <c:pt idx="83">
                  <c:v>80716</c:v>
                </c:pt>
                <c:pt idx="84">
                  <c:v>80870</c:v>
                </c:pt>
                <c:pt idx="85">
                  <c:v>79720</c:v>
                </c:pt>
                <c:pt idx="86">
                  <c:v>81190</c:v>
                </c:pt>
                <c:pt idx="87">
                  <c:v>81766</c:v>
                </c:pt>
                <c:pt idx="88">
                  <c:v>75946</c:v>
                </c:pt>
                <c:pt idx="89">
                  <c:v>77010</c:v>
                </c:pt>
                <c:pt idx="90">
                  <c:v>74544</c:v>
                </c:pt>
                <c:pt idx="91">
                  <c:v>83148</c:v>
                </c:pt>
                <c:pt idx="92">
                  <c:v>75193</c:v>
                </c:pt>
                <c:pt idx="93">
                  <c:v>77335</c:v>
                </c:pt>
                <c:pt idx="94">
                  <c:v>75076</c:v>
                </c:pt>
                <c:pt idx="95">
                  <c:v>77822</c:v>
                </c:pt>
                <c:pt idx="96">
                  <c:v>80010</c:v>
                </c:pt>
                <c:pt idx="97">
                  <c:v>76036</c:v>
                </c:pt>
                <c:pt idx="98">
                  <c:v>74462</c:v>
                </c:pt>
                <c:pt idx="99">
                  <c:v>68916</c:v>
                </c:pt>
                <c:pt idx="100">
                  <c:v>79215</c:v>
                </c:pt>
                <c:pt idx="101">
                  <c:v>66280</c:v>
                </c:pt>
                <c:pt idx="102">
                  <c:v>61982</c:v>
                </c:pt>
                <c:pt idx="103">
                  <c:v>55060</c:v>
                </c:pt>
                <c:pt idx="104">
                  <c:v>55320</c:v>
                </c:pt>
                <c:pt idx="105">
                  <c:v>50102</c:v>
                </c:pt>
                <c:pt idx="106">
                  <c:v>62660</c:v>
                </c:pt>
                <c:pt idx="107">
                  <c:v>8061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314</c:v>
                </c:pt>
                <c:pt idx="1">
                  <c:v>200</c:v>
                </c:pt>
                <c:pt idx="2">
                  <c:v>276</c:v>
                </c:pt>
                <c:pt idx="3">
                  <c:v>408</c:v>
                </c:pt>
                <c:pt idx="4">
                  <c:v>252</c:v>
                </c:pt>
                <c:pt idx="5">
                  <c:v>290</c:v>
                </c:pt>
                <c:pt idx="6">
                  <c:v>280</c:v>
                </c:pt>
                <c:pt idx="7">
                  <c:v>178</c:v>
                </c:pt>
                <c:pt idx="8">
                  <c:v>498</c:v>
                </c:pt>
                <c:pt idx="9">
                  <c:v>366</c:v>
                </c:pt>
                <c:pt idx="10">
                  <c:v>268</c:v>
                </c:pt>
                <c:pt idx="11">
                  <c:v>358</c:v>
                </c:pt>
                <c:pt idx="12">
                  <c:v>258</c:v>
                </c:pt>
                <c:pt idx="13">
                  <c:v>190</c:v>
                </c:pt>
                <c:pt idx="14">
                  <c:v>17780</c:v>
                </c:pt>
                <c:pt idx="15">
                  <c:v>19184</c:v>
                </c:pt>
                <c:pt idx="16">
                  <c:v>8968</c:v>
                </c:pt>
                <c:pt idx="17">
                  <c:v>6922</c:v>
                </c:pt>
                <c:pt idx="18">
                  <c:v>4914</c:v>
                </c:pt>
                <c:pt idx="19">
                  <c:v>3306</c:v>
                </c:pt>
                <c:pt idx="20">
                  <c:v>2578</c:v>
                </c:pt>
                <c:pt idx="21">
                  <c:v>1840</c:v>
                </c:pt>
                <c:pt idx="22">
                  <c:v>2114</c:v>
                </c:pt>
                <c:pt idx="23">
                  <c:v>1046</c:v>
                </c:pt>
                <c:pt idx="24">
                  <c:v>972</c:v>
                </c:pt>
                <c:pt idx="25">
                  <c:v>760</c:v>
                </c:pt>
                <c:pt idx="26">
                  <c:v>746</c:v>
                </c:pt>
                <c:pt idx="27">
                  <c:v>450</c:v>
                </c:pt>
                <c:pt idx="28">
                  <c:v>552</c:v>
                </c:pt>
                <c:pt idx="29">
                  <c:v>600</c:v>
                </c:pt>
                <c:pt idx="30">
                  <c:v>562</c:v>
                </c:pt>
                <c:pt idx="31">
                  <c:v>380</c:v>
                </c:pt>
                <c:pt idx="32">
                  <c:v>548</c:v>
                </c:pt>
                <c:pt idx="33">
                  <c:v>358</c:v>
                </c:pt>
                <c:pt idx="34">
                  <c:v>410</c:v>
                </c:pt>
                <c:pt idx="35">
                  <c:v>308</c:v>
                </c:pt>
                <c:pt idx="36">
                  <c:v>460</c:v>
                </c:pt>
                <c:pt idx="37">
                  <c:v>372</c:v>
                </c:pt>
                <c:pt idx="38">
                  <c:v>754</c:v>
                </c:pt>
                <c:pt idx="39">
                  <c:v>1048</c:v>
                </c:pt>
                <c:pt idx="40">
                  <c:v>696</c:v>
                </c:pt>
                <c:pt idx="41">
                  <c:v>980</c:v>
                </c:pt>
                <c:pt idx="42">
                  <c:v>1106</c:v>
                </c:pt>
                <c:pt idx="43">
                  <c:v>1056</c:v>
                </c:pt>
                <c:pt idx="44">
                  <c:v>1068</c:v>
                </c:pt>
                <c:pt idx="45">
                  <c:v>1190</c:v>
                </c:pt>
                <c:pt idx="46">
                  <c:v>1148</c:v>
                </c:pt>
                <c:pt idx="47">
                  <c:v>1140</c:v>
                </c:pt>
                <c:pt idx="48">
                  <c:v>1360</c:v>
                </c:pt>
                <c:pt idx="49">
                  <c:v>1124</c:v>
                </c:pt>
                <c:pt idx="50">
                  <c:v>1306</c:v>
                </c:pt>
                <c:pt idx="51">
                  <c:v>970</c:v>
                </c:pt>
                <c:pt idx="52">
                  <c:v>1058</c:v>
                </c:pt>
                <c:pt idx="53">
                  <c:v>1204</c:v>
                </c:pt>
                <c:pt idx="54">
                  <c:v>1090</c:v>
                </c:pt>
                <c:pt idx="55">
                  <c:v>1092</c:v>
                </c:pt>
                <c:pt idx="56">
                  <c:v>1070</c:v>
                </c:pt>
                <c:pt idx="57">
                  <c:v>1230</c:v>
                </c:pt>
                <c:pt idx="58">
                  <c:v>950</c:v>
                </c:pt>
                <c:pt idx="59">
                  <c:v>1362</c:v>
                </c:pt>
                <c:pt idx="60">
                  <c:v>1046</c:v>
                </c:pt>
                <c:pt idx="61">
                  <c:v>1100</c:v>
                </c:pt>
                <c:pt idx="62">
                  <c:v>1224</c:v>
                </c:pt>
                <c:pt idx="63">
                  <c:v>968</c:v>
                </c:pt>
                <c:pt idx="64">
                  <c:v>1164</c:v>
                </c:pt>
                <c:pt idx="65">
                  <c:v>1072</c:v>
                </c:pt>
                <c:pt idx="66">
                  <c:v>952</c:v>
                </c:pt>
                <c:pt idx="67">
                  <c:v>1084</c:v>
                </c:pt>
                <c:pt idx="68">
                  <c:v>1016</c:v>
                </c:pt>
                <c:pt idx="69">
                  <c:v>1042</c:v>
                </c:pt>
                <c:pt idx="70">
                  <c:v>1062</c:v>
                </c:pt>
                <c:pt idx="71">
                  <c:v>894</c:v>
                </c:pt>
                <c:pt idx="72">
                  <c:v>884</c:v>
                </c:pt>
                <c:pt idx="73">
                  <c:v>848</c:v>
                </c:pt>
                <c:pt idx="74">
                  <c:v>818</c:v>
                </c:pt>
                <c:pt idx="75">
                  <c:v>1206</c:v>
                </c:pt>
                <c:pt idx="76">
                  <c:v>978</c:v>
                </c:pt>
                <c:pt idx="77">
                  <c:v>954</c:v>
                </c:pt>
                <c:pt idx="78">
                  <c:v>1002</c:v>
                </c:pt>
                <c:pt idx="79">
                  <c:v>962</c:v>
                </c:pt>
                <c:pt idx="80">
                  <c:v>666</c:v>
                </c:pt>
                <c:pt idx="81">
                  <c:v>814</c:v>
                </c:pt>
                <c:pt idx="82">
                  <c:v>924</c:v>
                </c:pt>
                <c:pt idx="83">
                  <c:v>748</c:v>
                </c:pt>
                <c:pt idx="84">
                  <c:v>914</c:v>
                </c:pt>
                <c:pt idx="85">
                  <c:v>1024</c:v>
                </c:pt>
                <c:pt idx="86">
                  <c:v>646</c:v>
                </c:pt>
                <c:pt idx="87">
                  <c:v>966</c:v>
                </c:pt>
                <c:pt idx="88">
                  <c:v>810</c:v>
                </c:pt>
                <c:pt idx="89">
                  <c:v>874</c:v>
                </c:pt>
                <c:pt idx="90">
                  <c:v>917</c:v>
                </c:pt>
                <c:pt idx="91">
                  <c:v>914</c:v>
                </c:pt>
                <c:pt idx="92">
                  <c:v>872</c:v>
                </c:pt>
                <c:pt idx="93">
                  <c:v>970</c:v>
                </c:pt>
                <c:pt idx="94">
                  <c:v>630</c:v>
                </c:pt>
                <c:pt idx="95">
                  <c:v>808</c:v>
                </c:pt>
                <c:pt idx="96">
                  <c:v>820</c:v>
                </c:pt>
                <c:pt idx="97">
                  <c:v>686</c:v>
                </c:pt>
                <c:pt idx="98">
                  <c:v>822</c:v>
                </c:pt>
                <c:pt idx="99">
                  <c:v>696</c:v>
                </c:pt>
                <c:pt idx="100">
                  <c:v>896</c:v>
                </c:pt>
                <c:pt idx="101">
                  <c:v>18368</c:v>
                </c:pt>
                <c:pt idx="102">
                  <c:v>26592</c:v>
                </c:pt>
                <c:pt idx="103">
                  <c:v>16054</c:v>
                </c:pt>
                <c:pt idx="104">
                  <c:v>22270</c:v>
                </c:pt>
                <c:pt idx="105">
                  <c:v>14890</c:v>
                </c:pt>
                <c:pt idx="106">
                  <c:v>7150</c:v>
                </c:pt>
                <c:pt idx="107">
                  <c:v>33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5304</c:v>
                </c:pt>
                <c:pt idx="1">
                  <c:v>89737</c:v>
                </c:pt>
                <c:pt idx="2">
                  <c:v>91217</c:v>
                </c:pt>
                <c:pt idx="3">
                  <c:v>89095</c:v>
                </c:pt>
                <c:pt idx="4">
                  <c:v>92200</c:v>
                </c:pt>
                <c:pt idx="5">
                  <c:v>87923</c:v>
                </c:pt>
                <c:pt idx="6">
                  <c:v>82067</c:v>
                </c:pt>
                <c:pt idx="7">
                  <c:v>83238</c:v>
                </c:pt>
                <c:pt idx="8">
                  <c:v>90793</c:v>
                </c:pt>
                <c:pt idx="9">
                  <c:v>83601</c:v>
                </c:pt>
                <c:pt idx="10">
                  <c:v>83674</c:v>
                </c:pt>
                <c:pt idx="11">
                  <c:v>84639</c:v>
                </c:pt>
                <c:pt idx="12">
                  <c:v>81973</c:v>
                </c:pt>
                <c:pt idx="13">
                  <c:v>90139</c:v>
                </c:pt>
                <c:pt idx="14">
                  <c:v>77886</c:v>
                </c:pt>
                <c:pt idx="15">
                  <c:v>80011</c:v>
                </c:pt>
                <c:pt idx="16">
                  <c:v>80198</c:v>
                </c:pt>
                <c:pt idx="17">
                  <c:v>91826</c:v>
                </c:pt>
                <c:pt idx="18">
                  <c:v>86840</c:v>
                </c:pt>
                <c:pt idx="19">
                  <c:v>84944</c:v>
                </c:pt>
                <c:pt idx="20">
                  <c:v>92723</c:v>
                </c:pt>
                <c:pt idx="21">
                  <c:v>95216</c:v>
                </c:pt>
                <c:pt idx="22">
                  <c:v>94533</c:v>
                </c:pt>
                <c:pt idx="23">
                  <c:v>91566</c:v>
                </c:pt>
                <c:pt idx="24">
                  <c:v>90588</c:v>
                </c:pt>
                <c:pt idx="25">
                  <c:v>92102</c:v>
                </c:pt>
                <c:pt idx="26">
                  <c:v>95368</c:v>
                </c:pt>
                <c:pt idx="27">
                  <c:v>86225</c:v>
                </c:pt>
                <c:pt idx="28">
                  <c:v>83773</c:v>
                </c:pt>
                <c:pt idx="29">
                  <c:v>82556</c:v>
                </c:pt>
                <c:pt idx="30">
                  <c:v>88315</c:v>
                </c:pt>
                <c:pt idx="31">
                  <c:v>83305</c:v>
                </c:pt>
                <c:pt idx="32">
                  <c:v>84671</c:v>
                </c:pt>
                <c:pt idx="33">
                  <c:v>81278</c:v>
                </c:pt>
                <c:pt idx="34">
                  <c:v>83072</c:v>
                </c:pt>
                <c:pt idx="35">
                  <c:v>88805</c:v>
                </c:pt>
                <c:pt idx="36">
                  <c:v>87855</c:v>
                </c:pt>
                <c:pt idx="37">
                  <c:v>85622</c:v>
                </c:pt>
                <c:pt idx="38">
                  <c:v>81384</c:v>
                </c:pt>
                <c:pt idx="39">
                  <c:v>81469</c:v>
                </c:pt>
                <c:pt idx="40">
                  <c:v>69759</c:v>
                </c:pt>
                <c:pt idx="41">
                  <c:v>70345</c:v>
                </c:pt>
                <c:pt idx="42">
                  <c:v>69999</c:v>
                </c:pt>
                <c:pt idx="43">
                  <c:v>74451</c:v>
                </c:pt>
                <c:pt idx="44">
                  <c:v>82844</c:v>
                </c:pt>
                <c:pt idx="45">
                  <c:v>82368</c:v>
                </c:pt>
                <c:pt idx="46">
                  <c:v>77176</c:v>
                </c:pt>
                <c:pt idx="47">
                  <c:v>80354</c:v>
                </c:pt>
                <c:pt idx="48">
                  <c:v>84529</c:v>
                </c:pt>
                <c:pt idx="49">
                  <c:v>79574</c:v>
                </c:pt>
                <c:pt idx="50">
                  <c:v>84044</c:v>
                </c:pt>
                <c:pt idx="51">
                  <c:v>58571</c:v>
                </c:pt>
                <c:pt idx="52">
                  <c:v>69963</c:v>
                </c:pt>
                <c:pt idx="53">
                  <c:v>73062</c:v>
                </c:pt>
                <c:pt idx="54">
                  <c:v>87089</c:v>
                </c:pt>
                <c:pt idx="55">
                  <c:v>96669</c:v>
                </c:pt>
                <c:pt idx="56">
                  <c:v>89339</c:v>
                </c:pt>
                <c:pt idx="57">
                  <c:v>79275</c:v>
                </c:pt>
                <c:pt idx="58">
                  <c:v>68462</c:v>
                </c:pt>
                <c:pt idx="59">
                  <c:v>65348</c:v>
                </c:pt>
                <c:pt idx="60">
                  <c:v>64989</c:v>
                </c:pt>
                <c:pt idx="61">
                  <c:v>64685</c:v>
                </c:pt>
                <c:pt idx="62">
                  <c:v>69244</c:v>
                </c:pt>
                <c:pt idx="63">
                  <c:v>79418</c:v>
                </c:pt>
                <c:pt idx="64">
                  <c:v>81701</c:v>
                </c:pt>
                <c:pt idx="65">
                  <c:v>82440</c:v>
                </c:pt>
                <c:pt idx="66">
                  <c:v>78732</c:v>
                </c:pt>
                <c:pt idx="67">
                  <c:v>77568</c:v>
                </c:pt>
                <c:pt idx="68">
                  <c:v>77748</c:v>
                </c:pt>
                <c:pt idx="69">
                  <c:v>81678</c:v>
                </c:pt>
                <c:pt idx="70">
                  <c:v>79930</c:v>
                </c:pt>
                <c:pt idx="71">
                  <c:v>76539</c:v>
                </c:pt>
                <c:pt idx="72">
                  <c:v>91324</c:v>
                </c:pt>
                <c:pt idx="73">
                  <c:v>98280</c:v>
                </c:pt>
                <c:pt idx="74">
                  <c:v>104781</c:v>
                </c:pt>
                <c:pt idx="75">
                  <c:v>100215</c:v>
                </c:pt>
                <c:pt idx="76">
                  <c:v>99259</c:v>
                </c:pt>
                <c:pt idx="77">
                  <c:v>99382</c:v>
                </c:pt>
                <c:pt idx="78">
                  <c:v>108441</c:v>
                </c:pt>
                <c:pt idx="79">
                  <c:v>89327</c:v>
                </c:pt>
                <c:pt idx="80">
                  <c:v>83609</c:v>
                </c:pt>
                <c:pt idx="81">
                  <c:v>79459</c:v>
                </c:pt>
                <c:pt idx="82">
                  <c:v>83894</c:v>
                </c:pt>
                <c:pt idx="83">
                  <c:v>95676</c:v>
                </c:pt>
                <c:pt idx="84">
                  <c:v>95059</c:v>
                </c:pt>
                <c:pt idx="85">
                  <c:v>97961</c:v>
                </c:pt>
                <c:pt idx="86">
                  <c:v>93900</c:v>
                </c:pt>
                <c:pt idx="87">
                  <c:v>98467</c:v>
                </c:pt>
                <c:pt idx="88">
                  <c:v>91834</c:v>
                </c:pt>
                <c:pt idx="89">
                  <c:v>92928</c:v>
                </c:pt>
                <c:pt idx="90">
                  <c:v>85175</c:v>
                </c:pt>
                <c:pt idx="91">
                  <c:v>93101</c:v>
                </c:pt>
                <c:pt idx="92">
                  <c:v>75554</c:v>
                </c:pt>
                <c:pt idx="93">
                  <c:v>72739</c:v>
                </c:pt>
                <c:pt idx="94">
                  <c:v>81161</c:v>
                </c:pt>
                <c:pt idx="95">
                  <c:v>90939</c:v>
                </c:pt>
                <c:pt idx="96">
                  <c:v>96049</c:v>
                </c:pt>
                <c:pt idx="97">
                  <c:v>72254</c:v>
                </c:pt>
                <c:pt idx="98">
                  <c:v>23222</c:v>
                </c:pt>
                <c:pt idx="99">
                  <c:v>22139</c:v>
                </c:pt>
                <c:pt idx="100">
                  <c:v>24583</c:v>
                </c:pt>
                <c:pt idx="101">
                  <c:v>23023</c:v>
                </c:pt>
                <c:pt idx="102">
                  <c:v>25068</c:v>
                </c:pt>
                <c:pt idx="103">
                  <c:v>25590</c:v>
                </c:pt>
                <c:pt idx="104">
                  <c:v>21245</c:v>
                </c:pt>
                <c:pt idx="105">
                  <c:v>20999</c:v>
                </c:pt>
                <c:pt idx="106">
                  <c:v>23948</c:v>
                </c:pt>
                <c:pt idx="107">
                  <c:v>2302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47518</c:v>
                </c:pt>
                <c:pt idx="1">
                  <c:v>37894</c:v>
                </c:pt>
                <c:pt idx="2">
                  <c:v>46850</c:v>
                </c:pt>
                <c:pt idx="3">
                  <c:v>29062</c:v>
                </c:pt>
                <c:pt idx="4">
                  <c:v>17959</c:v>
                </c:pt>
                <c:pt idx="5">
                  <c:v>22264</c:v>
                </c:pt>
                <c:pt idx="6">
                  <c:v>20957</c:v>
                </c:pt>
                <c:pt idx="7">
                  <c:v>24389</c:v>
                </c:pt>
                <c:pt idx="8">
                  <c:v>14896</c:v>
                </c:pt>
                <c:pt idx="9">
                  <c:v>13958</c:v>
                </c:pt>
                <c:pt idx="10">
                  <c:v>17983</c:v>
                </c:pt>
                <c:pt idx="11">
                  <c:v>14286</c:v>
                </c:pt>
                <c:pt idx="12">
                  <c:v>11607</c:v>
                </c:pt>
                <c:pt idx="13">
                  <c:v>11038</c:v>
                </c:pt>
                <c:pt idx="14">
                  <c:v>11643</c:v>
                </c:pt>
                <c:pt idx="15">
                  <c:v>18624</c:v>
                </c:pt>
                <c:pt idx="16">
                  <c:v>10749</c:v>
                </c:pt>
                <c:pt idx="17">
                  <c:v>2685</c:v>
                </c:pt>
                <c:pt idx="18">
                  <c:v>1169</c:v>
                </c:pt>
                <c:pt idx="19">
                  <c:v>1081</c:v>
                </c:pt>
                <c:pt idx="20">
                  <c:v>2052</c:v>
                </c:pt>
                <c:pt idx="21">
                  <c:v>529</c:v>
                </c:pt>
                <c:pt idx="22">
                  <c:v>266</c:v>
                </c:pt>
                <c:pt idx="23">
                  <c:v>418</c:v>
                </c:pt>
                <c:pt idx="24">
                  <c:v>390</c:v>
                </c:pt>
                <c:pt idx="25">
                  <c:v>302</c:v>
                </c:pt>
                <c:pt idx="26">
                  <c:v>205</c:v>
                </c:pt>
                <c:pt idx="27">
                  <c:v>7715</c:v>
                </c:pt>
                <c:pt idx="28">
                  <c:v>18987</c:v>
                </c:pt>
                <c:pt idx="29">
                  <c:v>14875</c:v>
                </c:pt>
                <c:pt idx="30">
                  <c:v>14374</c:v>
                </c:pt>
                <c:pt idx="31">
                  <c:v>12873</c:v>
                </c:pt>
                <c:pt idx="32">
                  <c:v>12320</c:v>
                </c:pt>
                <c:pt idx="33">
                  <c:v>13218</c:v>
                </c:pt>
                <c:pt idx="34">
                  <c:v>14840</c:v>
                </c:pt>
                <c:pt idx="35">
                  <c:v>5912</c:v>
                </c:pt>
                <c:pt idx="36">
                  <c:v>613</c:v>
                </c:pt>
                <c:pt idx="37">
                  <c:v>227</c:v>
                </c:pt>
                <c:pt idx="38">
                  <c:v>5558</c:v>
                </c:pt>
                <c:pt idx="39">
                  <c:v>9641</c:v>
                </c:pt>
                <c:pt idx="40">
                  <c:v>21451</c:v>
                </c:pt>
                <c:pt idx="41">
                  <c:v>25382</c:v>
                </c:pt>
                <c:pt idx="42">
                  <c:v>24732</c:v>
                </c:pt>
                <c:pt idx="43">
                  <c:v>23278</c:v>
                </c:pt>
                <c:pt idx="44">
                  <c:v>15155</c:v>
                </c:pt>
                <c:pt idx="45">
                  <c:v>16883</c:v>
                </c:pt>
                <c:pt idx="46">
                  <c:v>26903</c:v>
                </c:pt>
                <c:pt idx="47">
                  <c:v>26749</c:v>
                </c:pt>
                <c:pt idx="48">
                  <c:v>34552</c:v>
                </c:pt>
                <c:pt idx="49">
                  <c:v>64235</c:v>
                </c:pt>
                <c:pt idx="50">
                  <c:v>102616</c:v>
                </c:pt>
                <c:pt idx="51">
                  <c:v>146644</c:v>
                </c:pt>
                <c:pt idx="52">
                  <c:v>9188</c:v>
                </c:pt>
                <c:pt idx="53">
                  <c:v>19874</c:v>
                </c:pt>
                <c:pt idx="54">
                  <c:v>12809</c:v>
                </c:pt>
                <c:pt idx="55">
                  <c:v>6377</c:v>
                </c:pt>
                <c:pt idx="56">
                  <c:v>18518</c:v>
                </c:pt>
                <c:pt idx="57">
                  <c:v>32674</c:v>
                </c:pt>
                <c:pt idx="58">
                  <c:v>37375</c:v>
                </c:pt>
                <c:pt idx="59">
                  <c:v>59320</c:v>
                </c:pt>
                <c:pt idx="60">
                  <c:v>52268</c:v>
                </c:pt>
                <c:pt idx="61">
                  <c:v>48538</c:v>
                </c:pt>
                <c:pt idx="62">
                  <c:v>38347</c:v>
                </c:pt>
                <c:pt idx="63">
                  <c:v>30372</c:v>
                </c:pt>
                <c:pt idx="64">
                  <c:v>23753</c:v>
                </c:pt>
                <c:pt idx="65">
                  <c:v>24122</c:v>
                </c:pt>
                <c:pt idx="66">
                  <c:v>23099</c:v>
                </c:pt>
                <c:pt idx="67">
                  <c:v>26870</c:v>
                </c:pt>
                <c:pt idx="68">
                  <c:v>19885</c:v>
                </c:pt>
                <c:pt idx="69">
                  <c:v>20776</c:v>
                </c:pt>
                <c:pt idx="70">
                  <c:v>19802</c:v>
                </c:pt>
                <c:pt idx="71">
                  <c:v>19626</c:v>
                </c:pt>
                <c:pt idx="72">
                  <c:v>13708</c:v>
                </c:pt>
                <c:pt idx="73">
                  <c:v>283</c:v>
                </c:pt>
                <c:pt idx="74">
                  <c:v>422</c:v>
                </c:pt>
                <c:pt idx="75">
                  <c:v>303</c:v>
                </c:pt>
                <c:pt idx="76">
                  <c:v>719</c:v>
                </c:pt>
                <c:pt idx="77">
                  <c:v>232</c:v>
                </c:pt>
                <c:pt idx="78">
                  <c:v>630</c:v>
                </c:pt>
                <c:pt idx="79">
                  <c:v>11609</c:v>
                </c:pt>
                <c:pt idx="80">
                  <c:v>21871</c:v>
                </c:pt>
                <c:pt idx="81">
                  <c:v>22126</c:v>
                </c:pt>
                <c:pt idx="82">
                  <c:v>20762</c:v>
                </c:pt>
                <c:pt idx="83">
                  <c:v>5906</c:v>
                </c:pt>
                <c:pt idx="84">
                  <c:v>4807</c:v>
                </c:pt>
                <c:pt idx="85">
                  <c:v>356</c:v>
                </c:pt>
                <c:pt idx="86">
                  <c:v>3278</c:v>
                </c:pt>
                <c:pt idx="87">
                  <c:v>453</c:v>
                </c:pt>
                <c:pt idx="88">
                  <c:v>521</c:v>
                </c:pt>
                <c:pt idx="89">
                  <c:v>423</c:v>
                </c:pt>
                <c:pt idx="90">
                  <c:v>5675</c:v>
                </c:pt>
                <c:pt idx="91">
                  <c:v>12525</c:v>
                </c:pt>
                <c:pt idx="92">
                  <c:v>23332</c:v>
                </c:pt>
                <c:pt idx="93">
                  <c:v>31963</c:v>
                </c:pt>
                <c:pt idx="94">
                  <c:v>20877</c:v>
                </c:pt>
                <c:pt idx="95">
                  <c:v>10671</c:v>
                </c:pt>
                <c:pt idx="96">
                  <c:v>13495</c:v>
                </c:pt>
                <c:pt idx="97">
                  <c:v>39680</c:v>
                </c:pt>
                <c:pt idx="98">
                  <c:v>93818</c:v>
                </c:pt>
                <c:pt idx="99">
                  <c:v>103439</c:v>
                </c:pt>
                <c:pt idx="100">
                  <c:v>114095</c:v>
                </c:pt>
                <c:pt idx="101">
                  <c:v>129713</c:v>
                </c:pt>
                <c:pt idx="102">
                  <c:v>164986</c:v>
                </c:pt>
                <c:pt idx="103">
                  <c:v>275385</c:v>
                </c:pt>
                <c:pt idx="104">
                  <c:v>84722</c:v>
                </c:pt>
                <c:pt idx="105">
                  <c:v>73283</c:v>
                </c:pt>
                <c:pt idx="106">
                  <c:v>71761</c:v>
                </c:pt>
                <c:pt idx="107">
                  <c:v>6395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B$2:$B$102</c:f>
              <c:numCache>
                <c:formatCode>General</c:formatCode>
                <c:ptCount val="1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C$2:$C$102</c:f>
              <c:numCache>
                <c:formatCode>General</c:formatCode>
                <c:ptCount val="1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5</c:v>
                </c:pt>
                <c:pt idx="87">
                  <c:v>0</c:v>
                </c:pt>
                <c:pt idx="88">
                  <c:v>0</c:v>
                </c:pt>
                <c:pt idx="89">
                  <c:v>0</c:v>
                </c:pt>
                <c:pt idx="90">
                  <c:v>0</c:v>
                </c:pt>
                <c:pt idx="91">
                  <c:v>5</c:v>
                </c:pt>
                <c:pt idx="92">
                  <c:v>0</c:v>
                </c:pt>
                <c:pt idx="93">
                  <c:v>0</c:v>
                </c:pt>
                <c:pt idx="94">
                  <c:v>5</c:v>
                </c:pt>
                <c:pt idx="95">
                  <c:v>20</c:v>
                </c:pt>
                <c:pt idx="96">
                  <c:v>10</c:v>
                </c:pt>
                <c:pt idx="97">
                  <c:v>0</c:v>
                </c:pt>
                <c:pt idx="98">
                  <c:v>5</c:v>
                </c:pt>
                <c:pt idx="99">
                  <c:v>5</c:v>
                </c:pt>
                <c:pt idx="100">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B$2:$B$102</c:f>
              <c:numCache>
                <c:formatCode>General</c:formatCode>
                <c:ptCount val="101"/>
                <c:pt idx="0">
                  <c:v>54</c:v>
                </c:pt>
                <c:pt idx="1">
                  <c:v>166</c:v>
                </c:pt>
                <c:pt idx="2">
                  <c:v>482</c:v>
                </c:pt>
                <c:pt idx="3">
                  <c:v>912</c:v>
                </c:pt>
                <c:pt idx="4">
                  <c:v>1038</c:v>
                </c:pt>
                <c:pt idx="5">
                  <c:v>1056</c:v>
                </c:pt>
                <c:pt idx="6">
                  <c:v>918</c:v>
                </c:pt>
                <c:pt idx="7">
                  <c:v>1054</c:v>
                </c:pt>
                <c:pt idx="8">
                  <c:v>1262</c:v>
                </c:pt>
                <c:pt idx="9">
                  <c:v>1014</c:v>
                </c:pt>
                <c:pt idx="10">
                  <c:v>978</c:v>
                </c:pt>
                <c:pt idx="11">
                  <c:v>966</c:v>
                </c:pt>
                <c:pt idx="12">
                  <c:v>1042</c:v>
                </c:pt>
                <c:pt idx="13">
                  <c:v>1246</c:v>
                </c:pt>
                <c:pt idx="14">
                  <c:v>1292</c:v>
                </c:pt>
                <c:pt idx="15">
                  <c:v>1214</c:v>
                </c:pt>
                <c:pt idx="16">
                  <c:v>1132</c:v>
                </c:pt>
                <c:pt idx="17">
                  <c:v>1260</c:v>
                </c:pt>
                <c:pt idx="18">
                  <c:v>1150</c:v>
                </c:pt>
                <c:pt idx="19">
                  <c:v>1194</c:v>
                </c:pt>
                <c:pt idx="20">
                  <c:v>1188</c:v>
                </c:pt>
                <c:pt idx="21">
                  <c:v>1114</c:v>
                </c:pt>
                <c:pt idx="22">
                  <c:v>1154</c:v>
                </c:pt>
                <c:pt idx="23">
                  <c:v>1196</c:v>
                </c:pt>
                <c:pt idx="24">
                  <c:v>1280</c:v>
                </c:pt>
                <c:pt idx="25">
                  <c:v>1142</c:v>
                </c:pt>
                <c:pt idx="26">
                  <c:v>1236</c:v>
                </c:pt>
                <c:pt idx="27">
                  <c:v>1138</c:v>
                </c:pt>
                <c:pt idx="28">
                  <c:v>1216</c:v>
                </c:pt>
                <c:pt idx="29">
                  <c:v>1114</c:v>
                </c:pt>
                <c:pt idx="30">
                  <c:v>1210</c:v>
                </c:pt>
                <c:pt idx="31">
                  <c:v>1168</c:v>
                </c:pt>
                <c:pt idx="32">
                  <c:v>1234</c:v>
                </c:pt>
                <c:pt idx="33">
                  <c:v>1194</c:v>
                </c:pt>
                <c:pt idx="34">
                  <c:v>1132</c:v>
                </c:pt>
                <c:pt idx="35">
                  <c:v>1010</c:v>
                </c:pt>
                <c:pt idx="36">
                  <c:v>926</c:v>
                </c:pt>
                <c:pt idx="37">
                  <c:v>974</c:v>
                </c:pt>
                <c:pt idx="38">
                  <c:v>970</c:v>
                </c:pt>
                <c:pt idx="39">
                  <c:v>960</c:v>
                </c:pt>
                <c:pt idx="40">
                  <c:v>944</c:v>
                </c:pt>
                <c:pt idx="41">
                  <c:v>932</c:v>
                </c:pt>
                <c:pt idx="42">
                  <c:v>896</c:v>
                </c:pt>
                <c:pt idx="43">
                  <c:v>868</c:v>
                </c:pt>
                <c:pt idx="44">
                  <c:v>874</c:v>
                </c:pt>
                <c:pt idx="45">
                  <c:v>850</c:v>
                </c:pt>
                <c:pt idx="46">
                  <c:v>718</c:v>
                </c:pt>
                <c:pt idx="47">
                  <c:v>772</c:v>
                </c:pt>
                <c:pt idx="48">
                  <c:v>676</c:v>
                </c:pt>
                <c:pt idx="49">
                  <c:v>468</c:v>
                </c:pt>
                <c:pt idx="50">
                  <c:v>374</c:v>
                </c:pt>
                <c:pt idx="51">
                  <c:v>256</c:v>
                </c:pt>
                <c:pt idx="52">
                  <c:v>150</c:v>
                </c:pt>
                <c:pt idx="53">
                  <c:v>40</c:v>
                </c:pt>
                <c:pt idx="54">
                  <c:v>36</c:v>
                </c:pt>
                <c:pt idx="55">
                  <c:v>4</c:v>
                </c:pt>
                <c:pt idx="56">
                  <c:v>10</c:v>
                </c:pt>
                <c:pt idx="57">
                  <c:v>4</c:v>
                </c:pt>
                <c:pt idx="58">
                  <c:v>6</c:v>
                </c:pt>
                <c:pt idx="59">
                  <c:v>12</c:v>
                </c:pt>
                <c:pt idx="60">
                  <c:v>8</c:v>
                </c:pt>
                <c:pt idx="61">
                  <c:v>8</c:v>
                </c:pt>
                <c:pt idx="62">
                  <c:v>10</c:v>
                </c:pt>
                <c:pt idx="63">
                  <c:v>6</c:v>
                </c:pt>
                <c:pt idx="64">
                  <c:v>6</c:v>
                </c:pt>
                <c:pt idx="65">
                  <c:v>0</c:v>
                </c:pt>
                <c:pt idx="66">
                  <c:v>0</c:v>
                </c:pt>
                <c:pt idx="67">
                  <c:v>4</c:v>
                </c:pt>
                <c:pt idx="68">
                  <c:v>0</c:v>
                </c:pt>
                <c:pt idx="69">
                  <c:v>4</c:v>
                </c:pt>
                <c:pt idx="70">
                  <c:v>6</c:v>
                </c:pt>
                <c:pt idx="71">
                  <c:v>8</c:v>
                </c:pt>
                <c:pt idx="72">
                  <c:v>2</c:v>
                </c:pt>
                <c:pt idx="73">
                  <c:v>6</c:v>
                </c:pt>
                <c:pt idx="74">
                  <c:v>2</c:v>
                </c:pt>
                <c:pt idx="75">
                  <c:v>0</c:v>
                </c:pt>
                <c:pt idx="76">
                  <c:v>0</c:v>
                </c:pt>
                <c:pt idx="77">
                  <c:v>0</c:v>
                </c:pt>
                <c:pt idx="78">
                  <c:v>0</c:v>
                </c:pt>
                <c:pt idx="79">
                  <c:v>0</c:v>
                </c:pt>
                <c:pt idx="80">
                  <c:v>2</c:v>
                </c:pt>
                <c:pt idx="81">
                  <c:v>0</c:v>
                </c:pt>
                <c:pt idx="82">
                  <c:v>0</c:v>
                </c:pt>
                <c:pt idx="83">
                  <c:v>0</c:v>
                </c:pt>
                <c:pt idx="84">
                  <c:v>0</c:v>
                </c:pt>
                <c:pt idx="85">
                  <c:v>2</c:v>
                </c:pt>
                <c:pt idx="86">
                  <c:v>0</c:v>
                </c:pt>
                <c:pt idx="87">
                  <c:v>4</c:v>
                </c:pt>
                <c:pt idx="88">
                  <c:v>0</c:v>
                </c:pt>
                <c:pt idx="89">
                  <c:v>2</c:v>
                </c:pt>
                <c:pt idx="90">
                  <c:v>0</c:v>
                </c:pt>
                <c:pt idx="91">
                  <c:v>0</c:v>
                </c:pt>
                <c:pt idx="92">
                  <c:v>2</c:v>
                </c:pt>
                <c:pt idx="93">
                  <c:v>0</c:v>
                </c:pt>
                <c:pt idx="94">
                  <c:v>0</c:v>
                </c:pt>
                <c:pt idx="95">
                  <c:v>2</c:v>
                </c:pt>
                <c:pt idx="96">
                  <c:v>12</c:v>
                </c:pt>
                <c:pt idx="97">
                  <c:v>26</c:v>
                </c:pt>
                <c:pt idx="98">
                  <c:v>106</c:v>
                </c:pt>
                <c:pt idx="99">
                  <c:v>514</c:v>
                </c:pt>
                <c:pt idx="100">
                  <c:v>848</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2</c:f>
              <c:numCache>
                <c:formatCode>yyyy\-mm\-dd</c:formatCode>
                <c:ptCount val="101"/>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43</c:v>
                </c:pt>
                <c:pt idx="85">
                  <c:v>45550</c:v>
                </c:pt>
                <c:pt idx="86">
                  <c:v>45557</c:v>
                </c:pt>
                <c:pt idx="87">
                  <c:v>45564</c:v>
                </c:pt>
                <c:pt idx="88">
                  <c:v>45571</c:v>
                </c:pt>
                <c:pt idx="89">
                  <c:v>45578</c:v>
                </c:pt>
                <c:pt idx="90">
                  <c:v>45592</c:v>
                </c:pt>
                <c:pt idx="91">
                  <c:v>45599</c:v>
                </c:pt>
                <c:pt idx="92">
                  <c:v>45606</c:v>
                </c:pt>
                <c:pt idx="93">
                  <c:v>45613</c:v>
                </c:pt>
                <c:pt idx="94">
                  <c:v>45641</c:v>
                </c:pt>
                <c:pt idx="95">
                  <c:v>45648</c:v>
                </c:pt>
                <c:pt idx="96">
                  <c:v>45655</c:v>
                </c:pt>
                <c:pt idx="97">
                  <c:v>45662</c:v>
                </c:pt>
                <c:pt idx="98">
                  <c:v>45669</c:v>
                </c:pt>
                <c:pt idx="99">
                  <c:v>45676</c:v>
                </c:pt>
                <c:pt idx="100">
                  <c:v>45683</c:v>
                </c:pt>
              </c:numCache>
            </c:numRef>
          </c:cat>
          <c:val>
            <c:numRef>
              <c:f>Sheet1!$C$2:$C$102</c:f>
              <c:numCache>
                <c:formatCode>General</c:formatCode>
                <c:ptCount val="101"/>
                <c:pt idx="0">
                  <c:v>30</c:v>
                </c:pt>
                <c:pt idx="1">
                  <c:v>12</c:v>
                </c:pt>
                <c:pt idx="2">
                  <c:v>30</c:v>
                </c:pt>
                <c:pt idx="3">
                  <c:v>28</c:v>
                </c:pt>
                <c:pt idx="4">
                  <c:v>10</c:v>
                </c:pt>
                <c:pt idx="5">
                  <c:v>62</c:v>
                </c:pt>
                <c:pt idx="6">
                  <c:v>60</c:v>
                </c:pt>
                <c:pt idx="7">
                  <c:v>72</c:v>
                </c:pt>
                <c:pt idx="8">
                  <c:v>30</c:v>
                </c:pt>
                <c:pt idx="9">
                  <c:v>54</c:v>
                </c:pt>
                <c:pt idx="10">
                  <c:v>52</c:v>
                </c:pt>
                <c:pt idx="11">
                  <c:v>74</c:v>
                </c:pt>
                <c:pt idx="12">
                  <c:v>96</c:v>
                </c:pt>
                <c:pt idx="13">
                  <c:v>96</c:v>
                </c:pt>
                <c:pt idx="14">
                  <c:v>34</c:v>
                </c:pt>
                <c:pt idx="15">
                  <c:v>82</c:v>
                </c:pt>
                <c:pt idx="16">
                  <c:v>68</c:v>
                </c:pt>
                <c:pt idx="17">
                  <c:v>64</c:v>
                </c:pt>
                <c:pt idx="18">
                  <c:v>68</c:v>
                </c:pt>
                <c:pt idx="19">
                  <c:v>62</c:v>
                </c:pt>
                <c:pt idx="20">
                  <c:v>68</c:v>
                </c:pt>
                <c:pt idx="21">
                  <c:v>60</c:v>
                </c:pt>
                <c:pt idx="22">
                  <c:v>86</c:v>
                </c:pt>
                <c:pt idx="23">
                  <c:v>102</c:v>
                </c:pt>
                <c:pt idx="24">
                  <c:v>80</c:v>
                </c:pt>
                <c:pt idx="25">
                  <c:v>64</c:v>
                </c:pt>
                <c:pt idx="26">
                  <c:v>86</c:v>
                </c:pt>
                <c:pt idx="27">
                  <c:v>72</c:v>
                </c:pt>
                <c:pt idx="28">
                  <c:v>66</c:v>
                </c:pt>
                <c:pt idx="29">
                  <c:v>74</c:v>
                </c:pt>
                <c:pt idx="30">
                  <c:v>64</c:v>
                </c:pt>
                <c:pt idx="31">
                  <c:v>48</c:v>
                </c:pt>
                <c:pt idx="32">
                  <c:v>54</c:v>
                </c:pt>
                <c:pt idx="33">
                  <c:v>46</c:v>
                </c:pt>
                <c:pt idx="34">
                  <c:v>36</c:v>
                </c:pt>
                <c:pt idx="35">
                  <c:v>60</c:v>
                </c:pt>
                <c:pt idx="36">
                  <c:v>56</c:v>
                </c:pt>
                <c:pt idx="37">
                  <c:v>88</c:v>
                </c:pt>
                <c:pt idx="38">
                  <c:v>54</c:v>
                </c:pt>
                <c:pt idx="39">
                  <c:v>72</c:v>
                </c:pt>
                <c:pt idx="40">
                  <c:v>784</c:v>
                </c:pt>
                <c:pt idx="41">
                  <c:v>1358</c:v>
                </c:pt>
                <c:pt idx="42">
                  <c:v>1556</c:v>
                </c:pt>
                <c:pt idx="43">
                  <c:v>1718</c:v>
                </c:pt>
                <c:pt idx="44">
                  <c:v>2172</c:v>
                </c:pt>
                <c:pt idx="45">
                  <c:v>2644</c:v>
                </c:pt>
                <c:pt idx="46">
                  <c:v>5026</c:v>
                </c:pt>
                <c:pt idx="47">
                  <c:v>4780</c:v>
                </c:pt>
                <c:pt idx="48">
                  <c:v>7410</c:v>
                </c:pt>
                <c:pt idx="49">
                  <c:v>11988</c:v>
                </c:pt>
                <c:pt idx="50">
                  <c:v>29446</c:v>
                </c:pt>
                <c:pt idx="51">
                  <c:v>100380</c:v>
                </c:pt>
                <c:pt idx="52">
                  <c:v>24608</c:v>
                </c:pt>
                <c:pt idx="53">
                  <c:v>2032</c:v>
                </c:pt>
                <c:pt idx="54">
                  <c:v>720</c:v>
                </c:pt>
                <c:pt idx="55">
                  <c:v>444</c:v>
                </c:pt>
                <c:pt idx="56">
                  <c:v>176</c:v>
                </c:pt>
                <c:pt idx="57">
                  <c:v>220</c:v>
                </c:pt>
                <c:pt idx="58">
                  <c:v>94</c:v>
                </c:pt>
                <c:pt idx="59">
                  <c:v>56</c:v>
                </c:pt>
                <c:pt idx="60">
                  <c:v>32</c:v>
                </c:pt>
                <c:pt idx="61">
                  <c:v>36</c:v>
                </c:pt>
                <c:pt idx="62">
                  <c:v>20</c:v>
                </c:pt>
                <c:pt idx="63">
                  <c:v>122</c:v>
                </c:pt>
                <c:pt idx="64">
                  <c:v>14</c:v>
                </c:pt>
                <c:pt idx="65">
                  <c:v>26</c:v>
                </c:pt>
                <c:pt idx="66">
                  <c:v>20</c:v>
                </c:pt>
                <c:pt idx="67">
                  <c:v>16</c:v>
                </c:pt>
                <c:pt idx="68">
                  <c:v>8</c:v>
                </c:pt>
                <c:pt idx="69">
                  <c:v>4</c:v>
                </c:pt>
                <c:pt idx="70">
                  <c:v>22</c:v>
                </c:pt>
                <c:pt idx="71">
                  <c:v>20</c:v>
                </c:pt>
                <c:pt idx="72">
                  <c:v>4</c:v>
                </c:pt>
                <c:pt idx="73">
                  <c:v>0</c:v>
                </c:pt>
                <c:pt idx="74">
                  <c:v>0</c:v>
                </c:pt>
                <c:pt idx="75">
                  <c:v>6</c:v>
                </c:pt>
                <c:pt idx="76">
                  <c:v>2</c:v>
                </c:pt>
                <c:pt idx="77">
                  <c:v>2</c:v>
                </c:pt>
                <c:pt idx="78">
                  <c:v>2</c:v>
                </c:pt>
                <c:pt idx="79">
                  <c:v>2</c:v>
                </c:pt>
                <c:pt idx="80">
                  <c:v>2</c:v>
                </c:pt>
                <c:pt idx="81">
                  <c:v>2</c:v>
                </c:pt>
                <c:pt idx="82">
                  <c:v>2</c:v>
                </c:pt>
                <c:pt idx="83">
                  <c:v>0</c:v>
                </c:pt>
                <c:pt idx="84">
                  <c:v>2</c:v>
                </c:pt>
                <c:pt idx="85">
                  <c:v>4</c:v>
                </c:pt>
                <c:pt idx="86">
                  <c:v>2</c:v>
                </c:pt>
                <c:pt idx="87">
                  <c:v>0</c:v>
                </c:pt>
                <c:pt idx="88">
                  <c:v>4</c:v>
                </c:pt>
                <c:pt idx="89">
                  <c:v>2</c:v>
                </c:pt>
                <c:pt idx="90">
                  <c:v>2</c:v>
                </c:pt>
                <c:pt idx="91">
                  <c:v>0</c:v>
                </c:pt>
                <c:pt idx="92">
                  <c:v>4</c:v>
                </c:pt>
                <c:pt idx="93">
                  <c:v>2</c:v>
                </c:pt>
                <c:pt idx="94">
                  <c:v>0</c:v>
                </c:pt>
                <c:pt idx="95">
                  <c:v>2</c:v>
                </c:pt>
                <c:pt idx="96">
                  <c:v>0</c:v>
                </c:pt>
                <c:pt idx="97">
                  <c:v>8</c:v>
                </c:pt>
                <c:pt idx="98">
                  <c:v>4</c:v>
                </c:pt>
                <c:pt idx="99">
                  <c:v>6</c:v>
                </c:pt>
                <c:pt idx="100">
                  <c:v>1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B$2:$B$108</c:f>
              <c:numCache>
                <c:formatCode>General</c:formatCode>
                <c:ptCount val="107"/>
                <c:pt idx="0">
                  <c:v>68</c:v>
                </c:pt>
                <c:pt idx="1">
                  <c:v>164</c:v>
                </c:pt>
                <c:pt idx="2">
                  <c:v>296</c:v>
                </c:pt>
                <c:pt idx="3">
                  <c:v>420</c:v>
                </c:pt>
                <c:pt idx="4">
                  <c:v>448</c:v>
                </c:pt>
                <c:pt idx="5">
                  <c:v>644</c:v>
                </c:pt>
                <c:pt idx="6">
                  <c:v>596</c:v>
                </c:pt>
                <c:pt idx="7">
                  <c:v>724</c:v>
                </c:pt>
                <c:pt idx="8">
                  <c:v>840</c:v>
                </c:pt>
                <c:pt idx="9">
                  <c:v>832</c:v>
                </c:pt>
                <c:pt idx="10">
                  <c:v>756</c:v>
                </c:pt>
                <c:pt idx="11">
                  <c:v>732</c:v>
                </c:pt>
                <c:pt idx="12">
                  <c:v>756</c:v>
                </c:pt>
                <c:pt idx="13">
                  <c:v>940</c:v>
                </c:pt>
                <c:pt idx="14">
                  <c:v>1104</c:v>
                </c:pt>
                <c:pt idx="15">
                  <c:v>968</c:v>
                </c:pt>
                <c:pt idx="16">
                  <c:v>1072</c:v>
                </c:pt>
                <c:pt idx="17">
                  <c:v>1088</c:v>
                </c:pt>
                <c:pt idx="18">
                  <c:v>1036</c:v>
                </c:pt>
                <c:pt idx="19">
                  <c:v>900</c:v>
                </c:pt>
                <c:pt idx="20">
                  <c:v>1076</c:v>
                </c:pt>
                <c:pt idx="21">
                  <c:v>1156</c:v>
                </c:pt>
                <c:pt idx="22">
                  <c:v>1216</c:v>
                </c:pt>
                <c:pt idx="23">
                  <c:v>1160</c:v>
                </c:pt>
                <c:pt idx="24">
                  <c:v>1264</c:v>
                </c:pt>
                <c:pt idx="25">
                  <c:v>1212</c:v>
                </c:pt>
                <c:pt idx="26">
                  <c:v>1212</c:v>
                </c:pt>
                <c:pt idx="27">
                  <c:v>1288</c:v>
                </c:pt>
                <c:pt idx="28">
                  <c:v>1328</c:v>
                </c:pt>
                <c:pt idx="29">
                  <c:v>1316</c:v>
                </c:pt>
                <c:pt idx="30">
                  <c:v>1424</c:v>
                </c:pt>
                <c:pt idx="31">
                  <c:v>1360</c:v>
                </c:pt>
                <c:pt idx="32">
                  <c:v>1504</c:v>
                </c:pt>
                <c:pt idx="33">
                  <c:v>1432</c:v>
                </c:pt>
                <c:pt idx="34">
                  <c:v>1356</c:v>
                </c:pt>
                <c:pt idx="35">
                  <c:v>1332</c:v>
                </c:pt>
                <c:pt idx="36">
                  <c:v>1428</c:v>
                </c:pt>
                <c:pt idx="37">
                  <c:v>1360</c:v>
                </c:pt>
                <c:pt idx="38">
                  <c:v>1348</c:v>
                </c:pt>
                <c:pt idx="39">
                  <c:v>1460</c:v>
                </c:pt>
                <c:pt idx="40">
                  <c:v>1504</c:v>
                </c:pt>
                <c:pt idx="41">
                  <c:v>1508</c:v>
                </c:pt>
                <c:pt idx="42">
                  <c:v>1356</c:v>
                </c:pt>
                <c:pt idx="43">
                  <c:v>1580</c:v>
                </c:pt>
                <c:pt idx="44">
                  <c:v>1568</c:v>
                </c:pt>
                <c:pt idx="45">
                  <c:v>1552</c:v>
                </c:pt>
                <c:pt idx="46">
                  <c:v>1388</c:v>
                </c:pt>
                <c:pt idx="47">
                  <c:v>1452</c:v>
                </c:pt>
                <c:pt idx="48">
                  <c:v>1492</c:v>
                </c:pt>
                <c:pt idx="49">
                  <c:v>900</c:v>
                </c:pt>
                <c:pt idx="50">
                  <c:v>512</c:v>
                </c:pt>
                <c:pt idx="51">
                  <c:v>376</c:v>
                </c:pt>
                <c:pt idx="52">
                  <c:v>240</c:v>
                </c:pt>
                <c:pt idx="53">
                  <c:v>592</c:v>
                </c:pt>
                <c:pt idx="54">
                  <c:v>344</c:v>
                </c:pt>
                <c:pt idx="55">
                  <c:v>144</c:v>
                </c:pt>
                <c:pt idx="56">
                  <c:v>132</c:v>
                </c:pt>
                <c:pt idx="57">
                  <c:v>68</c:v>
                </c:pt>
                <c:pt idx="58">
                  <c:v>144</c:v>
                </c:pt>
                <c:pt idx="59">
                  <c:v>152</c:v>
                </c:pt>
                <c:pt idx="60">
                  <c:v>192</c:v>
                </c:pt>
                <c:pt idx="61">
                  <c:v>172</c:v>
                </c:pt>
                <c:pt idx="62">
                  <c:v>196</c:v>
                </c:pt>
                <c:pt idx="63">
                  <c:v>84</c:v>
                </c:pt>
                <c:pt idx="64">
                  <c:v>172</c:v>
                </c:pt>
                <c:pt idx="65">
                  <c:v>56</c:v>
                </c:pt>
                <c:pt idx="66">
                  <c:v>112</c:v>
                </c:pt>
                <c:pt idx="67">
                  <c:v>84</c:v>
                </c:pt>
                <c:pt idx="68">
                  <c:v>56</c:v>
                </c:pt>
                <c:pt idx="69">
                  <c:v>108</c:v>
                </c:pt>
                <c:pt idx="70">
                  <c:v>36</c:v>
                </c:pt>
                <c:pt idx="71">
                  <c:v>32</c:v>
                </c:pt>
                <c:pt idx="72">
                  <c:v>96</c:v>
                </c:pt>
                <c:pt idx="73">
                  <c:v>44</c:v>
                </c:pt>
                <c:pt idx="74">
                  <c:v>60</c:v>
                </c:pt>
                <c:pt idx="75">
                  <c:v>48</c:v>
                </c:pt>
                <c:pt idx="76">
                  <c:v>28</c:v>
                </c:pt>
                <c:pt idx="77">
                  <c:v>32</c:v>
                </c:pt>
                <c:pt idx="78">
                  <c:v>24</c:v>
                </c:pt>
                <c:pt idx="79">
                  <c:v>12</c:v>
                </c:pt>
                <c:pt idx="80">
                  <c:v>16</c:v>
                </c:pt>
                <c:pt idx="81">
                  <c:v>16</c:v>
                </c:pt>
                <c:pt idx="82">
                  <c:v>12</c:v>
                </c:pt>
                <c:pt idx="83">
                  <c:v>20</c:v>
                </c:pt>
                <c:pt idx="84">
                  <c:v>8</c:v>
                </c:pt>
                <c:pt idx="85">
                  <c:v>28</c:v>
                </c:pt>
                <c:pt idx="86">
                  <c:v>8</c:v>
                </c:pt>
                <c:pt idx="87">
                  <c:v>44</c:v>
                </c:pt>
                <c:pt idx="88">
                  <c:v>20</c:v>
                </c:pt>
                <c:pt idx="89">
                  <c:v>12</c:v>
                </c:pt>
                <c:pt idx="90">
                  <c:v>8</c:v>
                </c:pt>
                <c:pt idx="91">
                  <c:v>4</c:v>
                </c:pt>
                <c:pt idx="92">
                  <c:v>0</c:v>
                </c:pt>
                <c:pt idx="93">
                  <c:v>16</c:v>
                </c:pt>
                <c:pt idx="94">
                  <c:v>4</c:v>
                </c:pt>
                <c:pt idx="95">
                  <c:v>4</c:v>
                </c:pt>
                <c:pt idx="96">
                  <c:v>4</c:v>
                </c:pt>
                <c:pt idx="97">
                  <c:v>24</c:v>
                </c:pt>
                <c:pt idx="98">
                  <c:v>8</c:v>
                </c:pt>
                <c:pt idx="99">
                  <c:v>4</c:v>
                </c:pt>
                <c:pt idx="100">
                  <c:v>32</c:v>
                </c:pt>
                <c:pt idx="101">
                  <c:v>8</c:v>
                </c:pt>
                <c:pt idx="102">
                  <c:v>24</c:v>
                </c:pt>
                <c:pt idx="103">
                  <c:v>36</c:v>
                </c:pt>
                <c:pt idx="104">
                  <c:v>84</c:v>
                </c:pt>
                <c:pt idx="105">
                  <c:v>408</c:v>
                </c:pt>
                <c:pt idx="106">
                  <c:v>748</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8</c:f>
              <c:numCache>
                <c:formatCode>yyyy\-mm\-dd</c:formatCode>
                <c:ptCount val="10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41</c:v>
                </c:pt>
                <c:pt idx="101">
                  <c:v>45648</c:v>
                </c:pt>
                <c:pt idx="102">
                  <c:v>45655</c:v>
                </c:pt>
                <c:pt idx="103">
                  <c:v>45662</c:v>
                </c:pt>
                <c:pt idx="104">
                  <c:v>45669</c:v>
                </c:pt>
                <c:pt idx="105">
                  <c:v>45676</c:v>
                </c:pt>
                <c:pt idx="106">
                  <c:v>45683</c:v>
                </c:pt>
              </c:numCache>
            </c:numRef>
          </c:cat>
          <c:val>
            <c:numRef>
              <c:f>Sheet1!$C$2:$C$108</c:f>
              <c:numCache>
                <c:formatCode>General</c:formatCode>
                <c:ptCount val="107"/>
                <c:pt idx="0">
                  <c:v>24</c:v>
                </c:pt>
                <c:pt idx="1">
                  <c:v>0</c:v>
                </c:pt>
                <c:pt idx="2">
                  <c:v>0</c:v>
                </c:pt>
                <c:pt idx="3">
                  <c:v>4</c:v>
                </c:pt>
                <c:pt idx="4">
                  <c:v>0</c:v>
                </c:pt>
                <c:pt idx="5">
                  <c:v>32</c:v>
                </c:pt>
                <c:pt idx="6">
                  <c:v>92</c:v>
                </c:pt>
                <c:pt idx="7">
                  <c:v>104</c:v>
                </c:pt>
                <c:pt idx="8">
                  <c:v>44</c:v>
                </c:pt>
                <c:pt idx="9">
                  <c:v>64</c:v>
                </c:pt>
                <c:pt idx="10">
                  <c:v>96</c:v>
                </c:pt>
                <c:pt idx="11">
                  <c:v>80</c:v>
                </c:pt>
                <c:pt idx="12">
                  <c:v>84</c:v>
                </c:pt>
                <c:pt idx="13">
                  <c:v>88</c:v>
                </c:pt>
                <c:pt idx="14">
                  <c:v>64</c:v>
                </c:pt>
                <c:pt idx="15">
                  <c:v>76</c:v>
                </c:pt>
                <c:pt idx="16">
                  <c:v>68</c:v>
                </c:pt>
                <c:pt idx="17">
                  <c:v>108</c:v>
                </c:pt>
                <c:pt idx="18">
                  <c:v>84</c:v>
                </c:pt>
                <c:pt idx="19">
                  <c:v>72</c:v>
                </c:pt>
                <c:pt idx="20">
                  <c:v>128</c:v>
                </c:pt>
                <c:pt idx="21">
                  <c:v>68</c:v>
                </c:pt>
                <c:pt idx="22">
                  <c:v>132</c:v>
                </c:pt>
                <c:pt idx="23">
                  <c:v>116</c:v>
                </c:pt>
                <c:pt idx="24">
                  <c:v>72</c:v>
                </c:pt>
                <c:pt idx="25">
                  <c:v>120</c:v>
                </c:pt>
                <c:pt idx="26">
                  <c:v>160</c:v>
                </c:pt>
                <c:pt idx="27">
                  <c:v>76</c:v>
                </c:pt>
                <c:pt idx="28">
                  <c:v>96</c:v>
                </c:pt>
                <c:pt idx="29">
                  <c:v>92</c:v>
                </c:pt>
                <c:pt idx="30">
                  <c:v>56</c:v>
                </c:pt>
                <c:pt idx="31">
                  <c:v>96</c:v>
                </c:pt>
                <c:pt idx="32">
                  <c:v>104</c:v>
                </c:pt>
                <c:pt idx="33">
                  <c:v>40</c:v>
                </c:pt>
                <c:pt idx="34">
                  <c:v>48</c:v>
                </c:pt>
                <c:pt idx="35">
                  <c:v>44</c:v>
                </c:pt>
                <c:pt idx="36">
                  <c:v>104</c:v>
                </c:pt>
                <c:pt idx="37">
                  <c:v>76</c:v>
                </c:pt>
                <c:pt idx="38">
                  <c:v>80</c:v>
                </c:pt>
                <c:pt idx="39">
                  <c:v>112</c:v>
                </c:pt>
                <c:pt idx="40">
                  <c:v>96</c:v>
                </c:pt>
                <c:pt idx="41">
                  <c:v>80</c:v>
                </c:pt>
                <c:pt idx="42">
                  <c:v>92</c:v>
                </c:pt>
                <c:pt idx="43">
                  <c:v>12</c:v>
                </c:pt>
                <c:pt idx="44">
                  <c:v>0</c:v>
                </c:pt>
                <c:pt idx="45">
                  <c:v>28</c:v>
                </c:pt>
                <c:pt idx="46">
                  <c:v>0</c:v>
                </c:pt>
                <c:pt idx="47">
                  <c:v>0</c:v>
                </c:pt>
                <c:pt idx="48">
                  <c:v>0</c:v>
                </c:pt>
                <c:pt idx="49">
                  <c:v>796</c:v>
                </c:pt>
                <c:pt idx="50">
                  <c:v>1644</c:v>
                </c:pt>
                <c:pt idx="51">
                  <c:v>1208</c:v>
                </c:pt>
                <c:pt idx="52">
                  <c:v>1048</c:v>
                </c:pt>
                <c:pt idx="53">
                  <c:v>5212</c:v>
                </c:pt>
                <c:pt idx="54">
                  <c:v>5200</c:v>
                </c:pt>
                <c:pt idx="55">
                  <c:v>4308</c:v>
                </c:pt>
                <c:pt idx="56">
                  <c:v>2080</c:v>
                </c:pt>
                <c:pt idx="57">
                  <c:v>1280</c:v>
                </c:pt>
                <c:pt idx="58">
                  <c:v>696</c:v>
                </c:pt>
                <c:pt idx="59">
                  <c:v>656</c:v>
                </c:pt>
                <c:pt idx="60">
                  <c:v>496</c:v>
                </c:pt>
                <c:pt idx="61">
                  <c:v>132</c:v>
                </c:pt>
                <c:pt idx="62">
                  <c:v>144</c:v>
                </c:pt>
                <c:pt idx="63">
                  <c:v>208</c:v>
                </c:pt>
                <c:pt idx="64">
                  <c:v>100</c:v>
                </c:pt>
                <c:pt idx="65">
                  <c:v>12</c:v>
                </c:pt>
                <c:pt idx="66">
                  <c:v>28</c:v>
                </c:pt>
                <c:pt idx="67">
                  <c:v>20</c:v>
                </c:pt>
                <c:pt idx="68">
                  <c:v>52</c:v>
                </c:pt>
                <c:pt idx="69">
                  <c:v>12</c:v>
                </c:pt>
                <c:pt idx="70">
                  <c:v>4</c:v>
                </c:pt>
                <c:pt idx="71">
                  <c:v>20</c:v>
                </c:pt>
                <c:pt idx="72">
                  <c:v>88</c:v>
                </c:pt>
                <c:pt idx="73">
                  <c:v>0</c:v>
                </c:pt>
                <c:pt idx="74">
                  <c:v>0</c:v>
                </c:pt>
                <c:pt idx="75">
                  <c:v>60</c:v>
                </c:pt>
                <c:pt idx="76">
                  <c:v>8</c:v>
                </c:pt>
                <c:pt idx="77">
                  <c:v>12</c:v>
                </c:pt>
                <c:pt idx="78">
                  <c:v>48</c:v>
                </c:pt>
                <c:pt idx="79">
                  <c:v>60</c:v>
                </c:pt>
                <c:pt idx="80">
                  <c:v>60</c:v>
                </c:pt>
                <c:pt idx="81">
                  <c:v>8</c:v>
                </c:pt>
                <c:pt idx="82">
                  <c:v>4</c:v>
                </c:pt>
                <c:pt idx="83">
                  <c:v>8</c:v>
                </c:pt>
                <c:pt idx="84">
                  <c:v>0</c:v>
                </c:pt>
                <c:pt idx="85">
                  <c:v>0</c:v>
                </c:pt>
                <c:pt idx="86">
                  <c:v>0</c:v>
                </c:pt>
                <c:pt idx="87">
                  <c:v>0</c:v>
                </c:pt>
                <c:pt idx="88">
                  <c:v>0</c:v>
                </c:pt>
                <c:pt idx="89">
                  <c:v>0</c:v>
                </c:pt>
                <c:pt idx="90">
                  <c:v>16</c:v>
                </c:pt>
                <c:pt idx="91">
                  <c:v>0</c:v>
                </c:pt>
                <c:pt idx="92">
                  <c:v>8</c:v>
                </c:pt>
                <c:pt idx="93">
                  <c:v>4</c:v>
                </c:pt>
                <c:pt idx="94">
                  <c:v>12</c:v>
                </c:pt>
                <c:pt idx="95">
                  <c:v>0</c:v>
                </c:pt>
                <c:pt idx="96">
                  <c:v>8</c:v>
                </c:pt>
                <c:pt idx="97">
                  <c:v>0</c:v>
                </c:pt>
                <c:pt idx="98">
                  <c:v>0</c:v>
                </c:pt>
                <c:pt idx="99">
                  <c:v>0</c:v>
                </c:pt>
                <c:pt idx="100">
                  <c:v>8</c:v>
                </c:pt>
                <c:pt idx="101">
                  <c:v>8</c:v>
                </c:pt>
                <c:pt idx="102">
                  <c:v>0</c:v>
                </c:pt>
                <c:pt idx="103">
                  <c:v>0</c:v>
                </c:pt>
                <c:pt idx="104">
                  <c:v>0</c:v>
                </c:pt>
                <c:pt idx="105">
                  <c:v>8</c:v>
                </c:pt>
                <c:pt idx="106">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60</c:v>
                </c:pt>
                <c:pt idx="49">
                  <c:v>379089</c:v>
                </c:pt>
                <c:pt idx="50">
                  <c:v>413936</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72</c:v>
                </c:pt>
                <c:pt idx="72">
                  <c:v>298157</c:v>
                </c:pt>
                <c:pt idx="73">
                  <c:v>359221</c:v>
                </c:pt>
                <c:pt idx="74">
                  <c:v>391713</c:v>
                </c:pt>
                <c:pt idx="75">
                  <c:v>361260</c:v>
                </c:pt>
                <c:pt idx="76">
                  <c:v>363336</c:v>
                </c:pt>
                <c:pt idx="77">
                  <c:v>361611</c:v>
                </c:pt>
                <c:pt idx="78">
                  <c:v>388894</c:v>
                </c:pt>
                <c:pt idx="79">
                  <c:v>361008</c:v>
                </c:pt>
                <c:pt idx="80">
                  <c:v>356534</c:v>
                </c:pt>
                <c:pt idx="81">
                  <c:v>354533</c:v>
                </c:pt>
                <c:pt idx="82">
                  <c:v>370461</c:v>
                </c:pt>
                <c:pt idx="83">
                  <c:v>365704</c:v>
                </c:pt>
                <c:pt idx="84">
                  <c:v>362277</c:v>
                </c:pt>
                <c:pt idx="85">
                  <c:v>355521</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95</c:v>
                </c:pt>
                <c:pt idx="39">
                  <c:v>1680</c:v>
                </c:pt>
                <c:pt idx="40">
                  <c:v>2065</c:v>
                </c:pt>
                <c:pt idx="41">
                  <c:v>2395</c:v>
                </c:pt>
                <c:pt idx="42">
                  <c:v>2430</c:v>
                </c:pt>
                <c:pt idx="43">
                  <c:v>3050</c:v>
                </c:pt>
                <c:pt idx="44">
                  <c:v>4675</c:v>
                </c:pt>
                <c:pt idx="45">
                  <c:v>4890</c:v>
                </c:pt>
                <c:pt idx="46">
                  <c:v>5500</c:v>
                </c:pt>
                <c:pt idx="47">
                  <c:v>3520</c:v>
                </c:pt>
                <c:pt idx="48">
                  <c:v>4865</c:v>
                </c:pt>
                <c:pt idx="49">
                  <c:v>10250</c:v>
                </c:pt>
                <c:pt idx="50">
                  <c:v>41340</c:v>
                </c:pt>
                <c:pt idx="51">
                  <c:v>22155</c:v>
                </c:pt>
                <c:pt idx="52">
                  <c:v>12445</c:v>
                </c:pt>
                <c:pt idx="53">
                  <c:v>38375</c:v>
                </c:pt>
                <c:pt idx="54">
                  <c:v>31810</c:v>
                </c:pt>
                <c:pt idx="55">
                  <c:v>13205</c:v>
                </c:pt>
                <c:pt idx="56">
                  <c:v>3790</c:v>
                </c:pt>
                <c:pt idx="57">
                  <c:v>1290</c:v>
                </c:pt>
                <c:pt idx="58">
                  <c:v>520</c:v>
                </c:pt>
                <c:pt idx="59">
                  <c:v>340</c:v>
                </c:pt>
                <c:pt idx="60">
                  <c:v>265</c:v>
                </c:pt>
                <c:pt idx="61">
                  <c:v>95</c:v>
                </c:pt>
                <c:pt idx="62">
                  <c:v>145</c:v>
                </c:pt>
                <c:pt idx="63">
                  <c:v>25</c:v>
                </c:pt>
                <c:pt idx="64">
                  <c:v>20</c:v>
                </c:pt>
                <c:pt idx="65">
                  <c:v>5</c:v>
                </c:pt>
                <c:pt idx="66">
                  <c:v>15</c:v>
                </c:pt>
                <c:pt idx="67">
                  <c:v>5</c:v>
                </c:pt>
                <c:pt idx="68">
                  <c:v>10</c:v>
                </c:pt>
                <c:pt idx="69">
                  <c:v>20</c:v>
                </c:pt>
                <c:pt idx="70">
                  <c:v>10</c:v>
                </c:pt>
                <c:pt idx="71">
                  <c:v>0</c:v>
                </c:pt>
                <c:pt idx="72">
                  <c:v>5</c:v>
                </c:pt>
                <c:pt idx="73">
                  <c:v>5</c:v>
                </c:pt>
                <c:pt idx="74">
                  <c:v>10</c:v>
                </c:pt>
                <c:pt idx="75">
                  <c:v>5</c:v>
                </c:pt>
                <c:pt idx="76">
                  <c:v>5</c:v>
                </c:pt>
                <c:pt idx="77">
                  <c:v>5</c:v>
                </c:pt>
                <c:pt idx="78">
                  <c:v>0</c:v>
                </c:pt>
                <c:pt idx="79">
                  <c:v>5</c:v>
                </c:pt>
                <c:pt idx="80">
                  <c:v>0</c:v>
                </c:pt>
                <c:pt idx="81">
                  <c:v>0</c:v>
                </c:pt>
                <c:pt idx="82">
                  <c:v>0</c:v>
                </c:pt>
                <c:pt idx="83">
                  <c:v>5</c:v>
                </c:pt>
                <c:pt idx="84">
                  <c:v>0</c:v>
                </c:pt>
                <c:pt idx="85">
                  <c:v>0</c:v>
                </c:pt>
                <c:pt idx="86">
                  <c:v>0</c:v>
                </c:pt>
                <c:pt idx="87">
                  <c:v>0</c:v>
                </c:pt>
                <c:pt idx="88">
                  <c:v>0</c:v>
                </c:pt>
                <c:pt idx="89">
                  <c:v>5</c:v>
                </c:pt>
                <c:pt idx="90">
                  <c:v>0</c:v>
                </c:pt>
                <c:pt idx="91">
                  <c:v>0</c:v>
                </c:pt>
                <c:pt idx="92">
                  <c:v>0</c:v>
                </c:pt>
                <c:pt idx="93">
                  <c:v>0</c:v>
                </c:pt>
                <c:pt idx="94">
                  <c:v>0</c:v>
                </c:pt>
                <c:pt idx="95">
                  <c:v>5</c:v>
                </c:pt>
                <c:pt idx="96">
                  <c:v>0</c:v>
                </c:pt>
                <c:pt idx="97">
                  <c:v>0</c:v>
                </c:pt>
                <c:pt idx="98">
                  <c:v>0</c:v>
                </c:pt>
                <c:pt idx="99">
                  <c:v>0</c:v>
                </c:pt>
                <c:pt idx="100">
                  <c:v>0</c:v>
                </c:pt>
                <c:pt idx="101">
                  <c:v>5</c:v>
                </c:pt>
                <c:pt idx="102">
                  <c:v>20</c:v>
                </c:pt>
                <c:pt idx="103">
                  <c:v>10</c:v>
                </c:pt>
                <c:pt idx="104">
                  <c:v>0</c:v>
                </c:pt>
                <c:pt idx="105">
                  <c:v>5</c:v>
                </c:pt>
                <c:pt idx="106">
                  <c:v>5</c:v>
                </c:pt>
                <c:pt idx="107">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76</c:v>
                </c:pt>
                <c:pt idx="1">
                  <c:v>13938</c:v>
                </c:pt>
                <c:pt idx="2">
                  <c:v>13671</c:v>
                </c:pt>
                <c:pt idx="3">
                  <c:v>13438</c:v>
                </c:pt>
                <c:pt idx="4">
                  <c:v>13656</c:v>
                </c:pt>
                <c:pt idx="5">
                  <c:v>14826</c:v>
                </c:pt>
                <c:pt idx="6">
                  <c:v>13856</c:v>
                </c:pt>
                <c:pt idx="7">
                  <c:v>13529</c:v>
                </c:pt>
                <c:pt idx="8">
                  <c:v>16116</c:v>
                </c:pt>
                <c:pt idx="9">
                  <c:v>14415</c:v>
                </c:pt>
                <c:pt idx="10">
                  <c:v>14534</c:v>
                </c:pt>
                <c:pt idx="11">
                  <c:v>15128</c:v>
                </c:pt>
                <c:pt idx="12">
                  <c:v>15431</c:v>
                </c:pt>
                <c:pt idx="13">
                  <c:v>17261</c:v>
                </c:pt>
                <c:pt idx="14">
                  <c:v>14172</c:v>
                </c:pt>
                <c:pt idx="15">
                  <c:v>14127</c:v>
                </c:pt>
                <c:pt idx="16">
                  <c:v>14914</c:v>
                </c:pt>
                <c:pt idx="17">
                  <c:v>17334</c:v>
                </c:pt>
                <c:pt idx="18">
                  <c:v>16224</c:v>
                </c:pt>
                <c:pt idx="19">
                  <c:v>16032</c:v>
                </c:pt>
                <c:pt idx="20">
                  <c:v>17817</c:v>
                </c:pt>
                <c:pt idx="21">
                  <c:v>17302</c:v>
                </c:pt>
                <c:pt idx="22">
                  <c:v>17151</c:v>
                </c:pt>
                <c:pt idx="23">
                  <c:v>16807</c:v>
                </c:pt>
                <c:pt idx="24">
                  <c:v>17339</c:v>
                </c:pt>
                <c:pt idx="25">
                  <c:v>16776</c:v>
                </c:pt>
                <c:pt idx="26">
                  <c:v>17771</c:v>
                </c:pt>
                <c:pt idx="27">
                  <c:v>15887</c:v>
                </c:pt>
                <c:pt idx="28">
                  <c:v>15128</c:v>
                </c:pt>
                <c:pt idx="29">
                  <c:v>16154</c:v>
                </c:pt>
                <c:pt idx="30">
                  <c:v>16755</c:v>
                </c:pt>
                <c:pt idx="31">
                  <c:v>15586</c:v>
                </c:pt>
                <c:pt idx="32">
                  <c:v>16356</c:v>
                </c:pt>
                <c:pt idx="33">
                  <c:v>16600</c:v>
                </c:pt>
                <c:pt idx="34">
                  <c:v>18795</c:v>
                </c:pt>
                <c:pt idx="35">
                  <c:v>19766</c:v>
                </c:pt>
                <c:pt idx="36">
                  <c:v>17420</c:v>
                </c:pt>
                <c:pt idx="37">
                  <c:v>16674</c:v>
                </c:pt>
                <c:pt idx="38">
                  <c:v>15378</c:v>
                </c:pt>
                <c:pt idx="39">
                  <c:v>15319</c:v>
                </c:pt>
                <c:pt idx="40">
                  <c:v>13354</c:v>
                </c:pt>
                <c:pt idx="41">
                  <c:v>14496</c:v>
                </c:pt>
                <c:pt idx="42">
                  <c:v>13756</c:v>
                </c:pt>
                <c:pt idx="43">
                  <c:v>13690</c:v>
                </c:pt>
                <c:pt idx="44">
                  <c:v>15510</c:v>
                </c:pt>
                <c:pt idx="45">
                  <c:v>14524</c:v>
                </c:pt>
                <c:pt idx="46">
                  <c:v>13783</c:v>
                </c:pt>
                <c:pt idx="47">
                  <c:v>14692</c:v>
                </c:pt>
                <c:pt idx="48">
                  <c:v>15120</c:v>
                </c:pt>
                <c:pt idx="49">
                  <c:v>11270</c:v>
                </c:pt>
                <c:pt idx="50">
                  <c:v>11241</c:v>
                </c:pt>
                <c:pt idx="51">
                  <c:v>7087</c:v>
                </c:pt>
                <c:pt idx="52">
                  <c:v>8989</c:v>
                </c:pt>
                <c:pt idx="53">
                  <c:v>11750</c:v>
                </c:pt>
                <c:pt idx="54">
                  <c:v>19892</c:v>
                </c:pt>
                <c:pt idx="55">
                  <c:v>23063</c:v>
                </c:pt>
                <c:pt idx="56">
                  <c:v>24509</c:v>
                </c:pt>
                <c:pt idx="57">
                  <c:v>26931</c:v>
                </c:pt>
                <c:pt idx="58">
                  <c:v>23148</c:v>
                </c:pt>
                <c:pt idx="59">
                  <c:v>22748</c:v>
                </c:pt>
                <c:pt idx="60">
                  <c:v>23826</c:v>
                </c:pt>
                <c:pt idx="61">
                  <c:v>22823</c:v>
                </c:pt>
                <c:pt idx="62">
                  <c:v>21003</c:v>
                </c:pt>
                <c:pt idx="63">
                  <c:v>19742</c:v>
                </c:pt>
                <c:pt idx="64">
                  <c:v>22322</c:v>
                </c:pt>
                <c:pt idx="65">
                  <c:v>21993</c:v>
                </c:pt>
                <c:pt idx="66">
                  <c:v>19687</c:v>
                </c:pt>
                <c:pt idx="67">
                  <c:v>20134</c:v>
                </c:pt>
                <c:pt idx="68">
                  <c:v>20032</c:v>
                </c:pt>
                <c:pt idx="69">
                  <c:v>21484</c:v>
                </c:pt>
                <c:pt idx="70">
                  <c:v>20542</c:v>
                </c:pt>
                <c:pt idx="71">
                  <c:v>19844</c:v>
                </c:pt>
                <c:pt idx="72">
                  <c:v>23939</c:v>
                </c:pt>
                <c:pt idx="73">
                  <c:v>26969</c:v>
                </c:pt>
                <c:pt idx="74">
                  <c:v>29031</c:v>
                </c:pt>
                <c:pt idx="75">
                  <c:v>28022</c:v>
                </c:pt>
                <c:pt idx="76">
                  <c:v>28815</c:v>
                </c:pt>
                <c:pt idx="77">
                  <c:v>28522</c:v>
                </c:pt>
                <c:pt idx="78">
                  <c:v>30126</c:v>
                </c:pt>
                <c:pt idx="79">
                  <c:v>25552</c:v>
                </c:pt>
                <c:pt idx="80">
                  <c:v>23407</c:v>
                </c:pt>
                <c:pt idx="81">
                  <c:v>22457</c:v>
                </c:pt>
                <c:pt idx="82">
                  <c:v>22287</c:v>
                </c:pt>
                <c:pt idx="83">
                  <c:v>25998</c:v>
                </c:pt>
                <c:pt idx="84">
                  <c:v>26178</c:v>
                </c:pt>
                <c:pt idx="85">
                  <c:v>26424</c:v>
                </c:pt>
                <c:pt idx="86">
                  <c:v>25270</c:v>
                </c:pt>
                <c:pt idx="87">
                  <c:v>25833</c:v>
                </c:pt>
                <c:pt idx="88">
                  <c:v>24115</c:v>
                </c:pt>
                <c:pt idx="89">
                  <c:v>24662</c:v>
                </c:pt>
                <c:pt idx="90">
                  <c:v>21729</c:v>
                </c:pt>
                <c:pt idx="91">
                  <c:v>22807</c:v>
                </c:pt>
                <c:pt idx="92">
                  <c:v>19490</c:v>
                </c:pt>
                <c:pt idx="93">
                  <c:v>18353</c:v>
                </c:pt>
                <c:pt idx="94">
                  <c:v>20147</c:v>
                </c:pt>
                <c:pt idx="95">
                  <c:v>22422</c:v>
                </c:pt>
                <c:pt idx="96">
                  <c:v>23182</c:v>
                </c:pt>
                <c:pt idx="97">
                  <c:v>21596</c:v>
                </c:pt>
                <c:pt idx="98">
                  <c:v>21277</c:v>
                </c:pt>
                <c:pt idx="99">
                  <c:v>20811</c:v>
                </c:pt>
                <c:pt idx="100">
                  <c:v>22963</c:v>
                </c:pt>
                <c:pt idx="101">
                  <c:v>22045</c:v>
                </c:pt>
                <c:pt idx="102">
                  <c:v>24422</c:v>
                </c:pt>
                <c:pt idx="103">
                  <c:v>24901</c:v>
                </c:pt>
                <c:pt idx="104">
                  <c:v>20185</c:v>
                </c:pt>
                <c:pt idx="105">
                  <c:v>19080</c:v>
                </c:pt>
                <c:pt idx="106">
                  <c:v>21168</c:v>
                </c:pt>
                <c:pt idx="107">
                  <c:v>19581</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78</c:v>
                </c:pt>
                <c:pt idx="1">
                  <c:v>10804</c:v>
                </c:pt>
                <c:pt idx="2">
                  <c:v>10122</c:v>
                </c:pt>
                <c:pt idx="3">
                  <c:v>6851</c:v>
                </c:pt>
                <c:pt idx="4">
                  <c:v>4440</c:v>
                </c:pt>
                <c:pt idx="5">
                  <c:v>3738</c:v>
                </c:pt>
                <c:pt idx="6">
                  <c:v>3626</c:v>
                </c:pt>
                <c:pt idx="7">
                  <c:v>7762</c:v>
                </c:pt>
                <c:pt idx="8">
                  <c:v>3072</c:v>
                </c:pt>
                <c:pt idx="9">
                  <c:v>3168</c:v>
                </c:pt>
                <c:pt idx="10">
                  <c:v>6634</c:v>
                </c:pt>
                <c:pt idx="11">
                  <c:v>4082</c:v>
                </c:pt>
                <c:pt idx="12">
                  <c:v>2344</c:v>
                </c:pt>
                <c:pt idx="13">
                  <c:v>2224</c:v>
                </c:pt>
                <c:pt idx="14">
                  <c:v>3180</c:v>
                </c:pt>
                <c:pt idx="15">
                  <c:v>7882</c:v>
                </c:pt>
                <c:pt idx="16">
                  <c:v>3238</c:v>
                </c:pt>
                <c:pt idx="17">
                  <c:v>698</c:v>
                </c:pt>
                <c:pt idx="18">
                  <c:v>982</c:v>
                </c:pt>
                <c:pt idx="19">
                  <c:v>856</c:v>
                </c:pt>
                <c:pt idx="20">
                  <c:v>1870</c:v>
                </c:pt>
                <c:pt idx="21">
                  <c:v>304</c:v>
                </c:pt>
                <c:pt idx="22">
                  <c:v>164</c:v>
                </c:pt>
                <c:pt idx="23">
                  <c:v>294</c:v>
                </c:pt>
                <c:pt idx="24">
                  <c:v>146</c:v>
                </c:pt>
                <c:pt idx="25">
                  <c:v>220</c:v>
                </c:pt>
                <c:pt idx="26">
                  <c:v>224</c:v>
                </c:pt>
                <c:pt idx="27">
                  <c:v>1572</c:v>
                </c:pt>
                <c:pt idx="28">
                  <c:v>5228</c:v>
                </c:pt>
                <c:pt idx="29">
                  <c:v>2802</c:v>
                </c:pt>
                <c:pt idx="30">
                  <c:v>2188</c:v>
                </c:pt>
                <c:pt idx="31">
                  <c:v>1968</c:v>
                </c:pt>
                <c:pt idx="32">
                  <c:v>1950</c:v>
                </c:pt>
                <c:pt idx="33">
                  <c:v>1804</c:v>
                </c:pt>
                <c:pt idx="34">
                  <c:v>1548</c:v>
                </c:pt>
                <c:pt idx="35">
                  <c:v>482</c:v>
                </c:pt>
                <c:pt idx="36">
                  <c:v>272</c:v>
                </c:pt>
                <c:pt idx="37">
                  <c:v>198</c:v>
                </c:pt>
                <c:pt idx="38">
                  <c:v>786</c:v>
                </c:pt>
                <c:pt idx="39">
                  <c:v>1586</c:v>
                </c:pt>
                <c:pt idx="40">
                  <c:v>10248</c:v>
                </c:pt>
                <c:pt idx="41">
                  <c:v>12301</c:v>
                </c:pt>
                <c:pt idx="42">
                  <c:v>13429</c:v>
                </c:pt>
                <c:pt idx="43">
                  <c:v>15451</c:v>
                </c:pt>
                <c:pt idx="44">
                  <c:v>16366</c:v>
                </c:pt>
                <c:pt idx="45">
                  <c:v>19322</c:v>
                </c:pt>
                <c:pt idx="46">
                  <c:v>31685</c:v>
                </c:pt>
                <c:pt idx="47">
                  <c:v>31237</c:v>
                </c:pt>
                <c:pt idx="48">
                  <c:v>41559</c:v>
                </c:pt>
                <c:pt idx="49">
                  <c:v>66466</c:v>
                </c:pt>
                <c:pt idx="50">
                  <c:v>120641</c:v>
                </c:pt>
                <c:pt idx="51">
                  <c:v>241388</c:v>
                </c:pt>
                <c:pt idx="52">
                  <c:v>29750</c:v>
                </c:pt>
                <c:pt idx="53">
                  <c:v>7619</c:v>
                </c:pt>
                <c:pt idx="54">
                  <c:v>3334</c:v>
                </c:pt>
                <c:pt idx="55">
                  <c:v>1899</c:v>
                </c:pt>
                <c:pt idx="56">
                  <c:v>901</c:v>
                </c:pt>
                <c:pt idx="57">
                  <c:v>922</c:v>
                </c:pt>
                <c:pt idx="58">
                  <c:v>4060</c:v>
                </c:pt>
                <c:pt idx="59">
                  <c:v>11597</c:v>
                </c:pt>
                <c:pt idx="60">
                  <c:v>7035</c:v>
                </c:pt>
                <c:pt idx="61">
                  <c:v>6267</c:v>
                </c:pt>
                <c:pt idx="62">
                  <c:v>6624</c:v>
                </c:pt>
                <c:pt idx="63">
                  <c:v>12375</c:v>
                </c:pt>
                <c:pt idx="64">
                  <c:v>6373</c:v>
                </c:pt>
                <c:pt idx="65">
                  <c:v>6064</c:v>
                </c:pt>
                <c:pt idx="66">
                  <c:v>6679</c:v>
                </c:pt>
                <c:pt idx="67">
                  <c:v>11912</c:v>
                </c:pt>
                <c:pt idx="68">
                  <c:v>6221</c:v>
                </c:pt>
                <c:pt idx="69">
                  <c:v>5750</c:v>
                </c:pt>
                <c:pt idx="70">
                  <c:v>5392</c:v>
                </c:pt>
                <c:pt idx="71">
                  <c:v>6325</c:v>
                </c:pt>
                <c:pt idx="72">
                  <c:v>6952</c:v>
                </c:pt>
                <c:pt idx="73">
                  <c:v>41</c:v>
                </c:pt>
                <c:pt idx="74">
                  <c:v>266</c:v>
                </c:pt>
                <c:pt idx="75">
                  <c:v>77</c:v>
                </c:pt>
                <c:pt idx="76">
                  <c:v>101</c:v>
                </c:pt>
                <c:pt idx="77">
                  <c:v>58</c:v>
                </c:pt>
                <c:pt idx="78">
                  <c:v>362</c:v>
                </c:pt>
                <c:pt idx="79">
                  <c:v>2888</c:v>
                </c:pt>
                <c:pt idx="80">
                  <c:v>6203</c:v>
                </c:pt>
                <c:pt idx="81">
                  <c:v>6007</c:v>
                </c:pt>
                <c:pt idx="82">
                  <c:v>5920</c:v>
                </c:pt>
                <c:pt idx="83">
                  <c:v>1399</c:v>
                </c:pt>
                <c:pt idx="84">
                  <c:v>1122</c:v>
                </c:pt>
                <c:pt idx="85">
                  <c:v>242</c:v>
                </c:pt>
                <c:pt idx="86">
                  <c:v>792</c:v>
                </c:pt>
                <c:pt idx="87">
                  <c:v>251</c:v>
                </c:pt>
                <c:pt idx="88">
                  <c:v>261</c:v>
                </c:pt>
                <c:pt idx="89">
                  <c:v>263</c:v>
                </c:pt>
                <c:pt idx="90">
                  <c:v>1199</c:v>
                </c:pt>
                <c:pt idx="91">
                  <c:v>2964</c:v>
                </c:pt>
                <c:pt idx="92">
                  <c:v>6667</c:v>
                </c:pt>
                <c:pt idx="93">
                  <c:v>12478</c:v>
                </c:pt>
                <c:pt idx="94">
                  <c:v>11650</c:v>
                </c:pt>
                <c:pt idx="95">
                  <c:v>10494</c:v>
                </c:pt>
                <c:pt idx="96">
                  <c:v>13315</c:v>
                </c:pt>
                <c:pt idx="97">
                  <c:v>16095</c:v>
                </c:pt>
                <c:pt idx="98">
                  <c:v>19979</c:v>
                </c:pt>
                <c:pt idx="99">
                  <c:v>32195</c:v>
                </c:pt>
                <c:pt idx="100">
                  <c:v>35366</c:v>
                </c:pt>
                <c:pt idx="101">
                  <c:v>49136</c:v>
                </c:pt>
                <c:pt idx="102">
                  <c:v>76958</c:v>
                </c:pt>
                <c:pt idx="103">
                  <c:v>200721</c:v>
                </c:pt>
                <c:pt idx="104">
                  <c:v>6529</c:v>
                </c:pt>
                <c:pt idx="105">
                  <c:v>1508</c:v>
                </c:pt>
                <c:pt idx="106">
                  <c:v>784</c:v>
                </c:pt>
                <c:pt idx="107">
                  <c:v>42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1040</c:v>
                </c:pt>
                <c:pt idx="1">
                  <c:v>75441</c:v>
                </c:pt>
                <c:pt idx="2">
                  <c:v>77128</c:v>
                </c:pt>
                <c:pt idx="3">
                  <c:v>75990</c:v>
                </c:pt>
                <c:pt idx="4">
                  <c:v>79592</c:v>
                </c:pt>
                <c:pt idx="5">
                  <c:v>73840</c:v>
                </c:pt>
                <c:pt idx="6">
                  <c:v>68352</c:v>
                </c:pt>
                <c:pt idx="7">
                  <c:v>69768</c:v>
                </c:pt>
                <c:pt idx="8">
                  <c:v>74872</c:v>
                </c:pt>
                <c:pt idx="9">
                  <c:v>69492</c:v>
                </c:pt>
                <c:pt idx="10">
                  <c:v>69108</c:v>
                </c:pt>
                <c:pt idx="11">
                  <c:v>69464</c:v>
                </c:pt>
                <c:pt idx="12">
                  <c:v>66866</c:v>
                </c:pt>
                <c:pt idx="13">
                  <c:v>73960</c:v>
                </c:pt>
                <c:pt idx="14">
                  <c:v>65196</c:v>
                </c:pt>
                <c:pt idx="15">
                  <c:v>67123</c:v>
                </c:pt>
                <c:pt idx="16">
                  <c:v>66848</c:v>
                </c:pt>
                <c:pt idx="17">
                  <c:v>76094</c:v>
                </c:pt>
                <c:pt idx="18">
                  <c:v>72148</c:v>
                </c:pt>
                <c:pt idx="19">
                  <c:v>70406</c:v>
                </c:pt>
                <c:pt idx="20">
                  <c:v>76692</c:v>
                </c:pt>
                <c:pt idx="21">
                  <c:v>79728</c:v>
                </c:pt>
                <c:pt idx="22">
                  <c:v>79328</c:v>
                </c:pt>
                <c:pt idx="23">
                  <c:v>76816</c:v>
                </c:pt>
                <c:pt idx="24">
                  <c:v>75517</c:v>
                </c:pt>
                <c:pt idx="25">
                  <c:v>77314</c:v>
                </c:pt>
                <c:pt idx="26">
                  <c:v>79868</c:v>
                </c:pt>
                <c:pt idx="27">
                  <c:v>72572</c:v>
                </c:pt>
                <c:pt idx="28">
                  <c:v>71006</c:v>
                </c:pt>
                <c:pt idx="29">
                  <c:v>68600</c:v>
                </c:pt>
                <c:pt idx="30">
                  <c:v>74056</c:v>
                </c:pt>
                <c:pt idx="31">
                  <c:v>70148</c:v>
                </c:pt>
                <c:pt idx="32">
                  <c:v>70948</c:v>
                </c:pt>
                <c:pt idx="33">
                  <c:v>67140</c:v>
                </c:pt>
                <c:pt idx="34">
                  <c:v>66610</c:v>
                </c:pt>
                <c:pt idx="35">
                  <c:v>71300</c:v>
                </c:pt>
                <c:pt idx="36">
                  <c:v>72816</c:v>
                </c:pt>
                <c:pt idx="37">
                  <c:v>71236</c:v>
                </c:pt>
                <c:pt idx="38">
                  <c:v>68228</c:v>
                </c:pt>
                <c:pt idx="39">
                  <c:v>68516</c:v>
                </c:pt>
                <c:pt idx="40">
                  <c:v>58784</c:v>
                </c:pt>
                <c:pt idx="41">
                  <c:v>58120</c:v>
                </c:pt>
                <c:pt idx="42">
                  <c:v>58360</c:v>
                </c:pt>
                <c:pt idx="43">
                  <c:v>63144</c:v>
                </c:pt>
                <c:pt idx="44">
                  <c:v>69732</c:v>
                </c:pt>
                <c:pt idx="45">
                  <c:v>70148</c:v>
                </c:pt>
                <c:pt idx="46">
                  <c:v>65352</c:v>
                </c:pt>
                <c:pt idx="47">
                  <c:v>67778</c:v>
                </c:pt>
                <c:pt idx="48">
                  <c:v>71488</c:v>
                </c:pt>
                <c:pt idx="49">
                  <c:v>69588</c:v>
                </c:pt>
                <c:pt idx="50">
                  <c:v>73700</c:v>
                </c:pt>
                <c:pt idx="51">
                  <c:v>52066</c:v>
                </c:pt>
                <c:pt idx="52">
                  <c:v>61325</c:v>
                </c:pt>
                <c:pt idx="53">
                  <c:v>61836</c:v>
                </c:pt>
                <c:pt idx="54">
                  <c:v>67454</c:v>
                </c:pt>
                <c:pt idx="55">
                  <c:v>73676</c:v>
                </c:pt>
                <c:pt idx="56">
                  <c:v>65022</c:v>
                </c:pt>
                <c:pt idx="57">
                  <c:v>52405</c:v>
                </c:pt>
                <c:pt idx="58">
                  <c:v>45461</c:v>
                </c:pt>
                <c:pt idx="59">
                  <c:v>42749</c:v>
                </c:pt>
                <c:pt idx="60">
                  <c:v>41355</c:v>
                </c:pt>
                <c:pt idx="61">
                  <c:v>42039</c:v>
                </c:pt>
                <c:pt idx="62">
                  <c:v>48360</c:v>
                </c:pt>
                <c:pt idx="63">
                  <c:v>59745</c:v>
                </c:pt>
                <c:pt idx="64">
                  <c:v>59538</c:v>
                </c:pt>
                <c:pt idx="65">
                  <c:v>60468</c:v>
                </c:pt>
                <c:pt idx="66">
                  <c:v>59251</c:v>
                </c:pt>
                <c:pt idx="67">
                  <c:v>57589</c:v>
                </c:pt>
                <c:pt idx="68">
                  <c:v>57841</c:v>
                </c:pt>
                <c:pt idx="69">
                  <c:v>60307</c:v>
                </c:pt>
                <c:pt idx="70">
                  <c:v>59512</c:v>
                </c:pt>
                <c:pt idx="71">
                  <c:v>56718</c:v>
                </c:pt>
                <c:pt idx="72">
                  <c:v>67465</c:v>
                </c:pt>
                <c:pt idx="73">
                  <c:v>71356</c:v>
                </c:pt>
                <c:pt idx="74">
                  <c:v>75809</c:v>
                </c:pt>
                <c:pt idx="75">
                  <c:v>72235</c:v>
                </c:pt>
                <c:pt idx="76">
                  <c:v>70456</c:v>
                </c:pt>
                <c:pt idx="77">
                  <c:v>70886</c:v>
                </c:pt>
                <c:pt idx="78">
                  <c:v>78431</c:v>
                </c:pt>
                <c:pt idx="79">
                  <c:v>63776</c:v>
                </c:pt>
                <c:pt idx="80">
                  <c:v>60217</c:v>
                </c:pt>
                <c:pt idx="81">
                  <c:v>57018</c:v>
                </c:pt>
                <c:pt idx="82">
                  <c:v>61616</c:v>
                </c:pt>
                <c:pt idx="83">
                  <c:v>69698</c:v>
                </c:pt>
                <c:pt idx="84">
                  <c:v>68886</c:v>
                </c:pt>
                <c:pt idx="85">
                  <c:v>71557</c:v>
                </c:pt>
                <c:pt idx="86">
                  <c:v>68633</c:v>
                </c:pt>
                <c:pt idx="87">
                  <c:v>72654</c:v>
                </c:pt>
                <c:pt idx="88">
                  <c:v>67723</c:v>
                </c:pt>
                <c:pt idx="89">
                  <c:v>68278</c:v>
                </c:pt>
                <c:pt idx="90">
                  <c:v>63458</c:v>
                </c:pt>
                <c:pt idx="91">
                  <c:v>70289</c:v>
                </c:pt>
                <c:pt idx="92">
                  <c:v>56060</c:v>
                </c:pt>
                <c:pt idx="93">
                  <c:v>54396</c:v>
                </c:pt>
                <c:pt idx="94">
                  <c:v>61018</c:v>
                </c:pt>
                <c:pt idx="95">
                  <c:v>68521</c:v>
                </c:pt>
                <c:pt idx="96">
                  <c:v>72873</c:v>
                </c:pt>
                <c:pt idx="97">
                  <c:v>50650</c:v>
                </c:pt>
                <c:pt idx="98">
                  <c:v>1952</c:v>
                </c:pt>
                <c:pt idx="99">
                  <c:v>1316</c:v>
                </c:pt>
                <c:pt idx="100">
                  <c:v>1709</c:v>
                </c:pt>
                <c:pt idx="101">
                  <c:v>1010</c:v>
                </c:pt>
                <c:pt idx="102">
                  <c:v>653</c:v>
                </c:pt>
                <c:pt idx="103">
                  <c:v>722</c:v>
                </c:pt>
                <c:pt idx="104">
                  <c:v>1119</c:v>
                </c:pt>
                <c:pt idx="105">
                  <c:v>2109</c:v>
                </c:pt>
                <c:pt idx="106">
                  <c:v>3706</c:v>
                </c:pt>
                <c:pt idx="107">
                  <c:v>503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68</c:v>
                </c:pt>
                <c:pt idx="1">
                  <c:v>7080</c:v>
                </c:pt>
                <c:pt idx="2">
                  <c:v>5360</c:v>
                </c:pt>
                <c:pt idx="3">
                  <c:v>3184</c:v>
                </c:pt>
                <c:pt idx="4">
                  <c:v>1772</c:v>
                </c:pt>
                <c:pt idx="5">
                  <c:v>9686</c:v>
                </c:pt>
                <c:pt idx="6">
                  <c:v>11864</c:v>
                </c:pt>
                <c:pt idx="7">
                  <c:v>13398</c:v>
                </c:pt>
                <c:pt idx="8">
                  <c:v>9822</c:v>
                </c:pt>
                <c:pt idx="9">
                  <c:v>9538</c:v>
                </c:pt>
                <c:pt idx="10">
                  <c:v>10216</c:v>
                </c:pt>
                <c:pt idx="11">
                  <c:v>9278</c:v>
                </c:pt>
                <c:pt idx="12">
                  <c:v>8436</c:v>
                </c:pt>
                <c:pt idx="13">
                  <c:v>8576</c:v>
                </c:pt>
                <c:pt idx="14">
                  <c:v>8312</c:v>
                </c:pt>
                <c:pt idx="15">
                  <c:v>10352</c:v>
                </c:pt>
                <c:pt idx="16">
                  <c:v>7440</c:v>
                </c:pt>
                <c:pt idx="17">
                  <c:v>1898</c:v>
                </c:pt>
                <c:pt idx="18">
                  <c:v>204</c:v>
                </c:pt>
                <c:pt idx="19">
                  <c:v>206</c:v>
                </c:pt>
                <c:pt idx="20">
                  <c:v>274</c:v>
                </c:pt>
                <c:pt idx="21">
                  <c:v>248</c:v>
                </c:pt>
                <c:pt idx="22">
                  <c:v>230</c:v>
                </c:pt>
                <c:pt idx="23">
                  <c:v>552</c:v>
                </c:pt>
                <c:pt idx="24">
                  <c:v>336</c:v>
                </c:pt>
                <c:pt idx="25">
                  <c:v>236</c:v>
                </c:pt>
                <c:pt idx="26">
                  <c:v>194</c:v>
                </c:pt>
                <c:pt idx="27">
                  <c:v>6204</c:v>
                </c:pt>
                <c:pt idx="28">
                  <c:v>13897</c:v>
                </c:pt>
                <c:pt idx="29">
                  <c:v>12236</c:v>
                </c:pt>
                <c:pt idx="30">
                  <c:v>12294</c:v>
                </c:pt>
                <c:pt idx="31">
                  <c:v>11046</c:v>
                </c:pt>
                <c:pt idx="32">
                  <c:v>10516</c:v>
                </c:pt>
                <c:pt idx="33">
                  <c:v>11488</c:v>
                </c:pt>
                <c:pt idx="34">
                  <c:v>13370</c:v>
                </c:pt>
                <c:pt idx="35">
                  <c:v>5534</c:v>
                </c:pt>
                <c:pt idx="36">
                  <c:v>492</c:v>
                </c:pt>
                <c:pt idx="37">
                  <c:v>190</c:v>
                </c:pt>
                <c:pt idx="38">
                  <c:v>4900</c:v>
                </c:pt>
                <c:pt idx="39">
                  <c:v>8236</c:v>
                </c:pt>
                <c:pt idx="40">
                  <c:v>12080</c:v>
                </c:pt>
                <c:pt idx="41">
                  <c:v>14438</c:v>
                </c:pt>
                <c:pt idx="42">
                  <c:v>12948</c:v>
                </c:pt>
                <c:pt idx="43">
                  <c:v>9554</c:v>
                </c:pt>
                <c:pt idx="44">
                  <c:v>760</c:v>
                </c:pt>
                <c:pt idx="45">
                  <c:v>80</c:v>
                </c:pt>
                <c:pt idx="46">
                  <c:v>244</c:v>
                </c:pt>
                <c:pt idx="47">
                  <c:v>286</c:v>
                </c:pt>
                <c:pt idx="48">
                  <c:v>358</c:v>
                </c:pt>
                <c:pt idx="49">
                  <c:v>10538</c:v>
                </c:pt>
                <c:pt idx="50">
                  <c:v>12990</c:v>
                </c:pt>
                <c:pt idx="51">
                  <c:v>6844</c:v>
                </c:pt>
                <c:pt idx="52">
                  <c:v>5094</c:v>
                </c:pt>
                <c:pt idx="53">
                  <c:v>19490</c:v>
                </c:pt>
                <c:pt idx="54">
                  <c:v>15392</c:v>
                </c:pt>
                <c:pt idx="55">
                  <c:v>9230</c:v>
                </c:pt>
                <c:pt idx="56">
                  <c:v>19870</c:v>
                </c:pt>
                <c:pt idx="57">
                  <c:v>33249</c:v>
                </c:pt>
                <c:pt idx="58">
                  <c:v>34096</c:v>
                </c:pt>
                <c:pt idx="59">
                  <c:v>48432</c:v>
                </c:pt>
                <c:pt idx="60">
                  <c:v>45761</c:v>
                </c:pt>
                <c:pt idx="61">
                  <c:v>42439</c:v>
                </c:pt>
                <c:pt idx="62">
                  <c:v>31863</c:v>
                </c:pt>
                <c:pt idx="63">
                  <c:v>18267</c:v>
                </c:pt>
                <c:pt idx="64">
                  <c:v>17488</c:v>
                </c:pt>
                <c:pt idx="65">
                  <c:v>18096</c:v>
                </c:pt>
                <c:pt idx="66">
                  <c:v>16468</c:v>
                </c:pt>
                <c:pt idx="67">
                  <c:v>14994</c:v>
                </c:pt>
                <c:pt idx="68">
                  <c:v>13724</c:v>
                </c:pt>
                <c:pt idx="69">
                  <c:v>15042</c:v>
                </c:pt>
                <c:pt idx="70">
                  <c:v>14436</c:v>
                </c:pt>
                <c:pt idx="71">
                  <c:v>13341</c:v>
                </c:pt>
                <c:pt idx="72">
                  <c:v>6848</c:v>
                </c:pt>
                <c:pt idx="73">
                  <c:v>242</c:v>
                </c:pt>
                <c:pt idx="74">
                  <c:v>138</c:v>
                </c:pt>
                <c:pt idx="75">
                  <c:v>292</c:v>
                </c:pt>
                <c:pt idx="76">
                  <c:v>628</c:v>
                </c:pt>
                <c:pt idx="77">
                  <c:v>188</c:v>
                </c:pt>
                <c:pt idx="78">
                  <c:v>318</c:v>
                </c:pt>
                <c:pt idx="79">
                  <c:v>8783</c:v>
                </c:pt>
                <c:pt idx="80">
                  <c:v>15730</c:v>
                </c:pt>
                <c:pt idx="81">
                  <c:v>16229</c:v>
                </c:pt>
                <c:pt idx="82">
                  <c:v>14848</c:v>
                </c:pt>
                <c:pt idx="83">
                  <c:v>4515</c:v>
                </c:pt>
                <c:pt idx="84">
                  <c:v>3685</c:v>
                </c:pt>
                <c:pt idx="85">
                  <c:v>114</c:v>
                </c:pt>
                <c:pt idx="86">
                  <c:v>2486</c:v>
                </c:pt>
                <c:pt idx="87">
                  <c:v>204</c:v>
                </c:pt>
                <c:pt idx="88">
                  <c:v>264</c:v>
                </c:pt>
                <c:pt idx="89">
                  <c:v>144</c:v>
                </c:pt>
                <c:pt idx="90">
                  <c:v>4492</c:v>
                </c:pt>
                <c:pt idx="91">
                  <c:v>9565</c:v>
                </c:pt>
                <c:pt idx="92">
                  <c:v>16675</c:v>
                </c:pt>
                <c:pt idx="93">
                  <c:v>19489</c:v>
                </c:pt>
                <c:pt idx="94">
                  <c:v>9241</c:v>
                </c:pt>
                <c:pt idx="95">
                  <c:v>177</c:v>
                </c:pt>
                <c:pt idx="96">
                  <c:v>192</c:v>
                </c:pt>
                <c:pt idx="97">
                  <c:v>23587</c:v>
                </c:pt>
                <c:pt idx="98">
                  <c:v>73824</c:v>
                </c:pt>
                <c:pt idx="99">
                  <c:v>71232</c:v>
                </c:pt>
                <c:pt idx="100">
                  <c:v>78714</c:v>
                </c:pt>
                <c:pt idx="101">
                  <c:v>80685</c:v>
                </c:pt>
                <c:pt idx="102">
                  <c:v>88038</c:v>
                </c:pt>
                <c:pt idx="103">
                  <c:v>74659</c:v>
                </c:pt>
                <c:pt idx="104">
                  <c:v>78201</c:v>
                </c:pt>
                <c:pt idx="105">
                  <c:v>71779</c:v>
                </c:pt>
                <c:pt idx="106">
                  <c:v>70991</c:v>
                </c:pt>
                <c:pt idx="107">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821728</c:v>
                </c:pt>
                <c:pt idx="1">
                  <c:v>833774</c:v>
                </c:pt>
                <c:pt idx="2">
                  <c:v>845152</c:v>
                </c:pt>
                <c:pt idx="3">
                  <c:v>820136</c:v>
                </c:pt>
                <c:pt idx="4">
                  <c:v>871205</c:v>
                </c:pt>
                <c:pt idx="5">
                  <c:v>883032</c:v>
                </c:pt>
                <c:pt idx="6">
                  <c:v>838691</c:v>
                </c:pt>
                <c:pt idx="7">
                  <c:v>885584</c:v>
                </c:pt>
                <c:pt idx="8">
                  <c:v>941989</c:v>
                </c:pt>
                <c:pt idx="9">
                  <c:v>924701</c:v>
                </c:pt>
                <c:pt idx="10">
                  <c:v>875805</c:v>
                </c:pt>
                <c:pt idx="11">
                  <c:v>867954</c:v>
                </c:pt>
                <c:pt idx="12">
                  <c:v>858302</c:v>
                </c:pt>
                <c:pt idx="13">
                  <c:v>948409</c:v>
                </c:pt>
                <c:pt idx="14">
                  <c:v>854430</c:v>
                </c:pt>
                <c:pt idx="15">
                  <c:v>881785</c:v>
                </c:pt>
                <c:pt idx="16">
                  <c:v>863046</c:v>
                </c:pt>
                <c:pt idx="17">
                  <c:v>944975</c:v>
                </c:pt>
                <c:pt idx="18">
                  <c:v>892579</c:v>
                </c:pt>
                <c:pt idx="19">
                  <c:v>882101</c:v>
                </c:pt>
                <c:pt idx="20">
                  <c:v>904680</c:v>
                </c:pt>
                <c:pt idx="21">
                  <c:v>958392</c:v>
                </c:pt>
                <c:pt idx="22">
                  <c:v>975643</c:v>
                </c:pt>
                <c:pt idx="23">
                  <c:v>932021</c:v>
                </c:pt>
                <c:pt idx="24">
                  <c:v>892844</c:v>
                </c:pt>
                <c:pt idx="25">
                  <c:v>916952</c:v>
                </c:pt>
                <c:pt idx="26">
                  <c:v>907521</c:v>
                </c:pt>
                <c:pt idx="27">
                  <c:v>818373</c:v>
                </c:pt>
                <c:pt idx="28">
                  <c:v>843015</c:v>
                </c:pt>
                <c:pt idx="29">
                  <c:v>910578</c:v>
                </c:pt>
                <c:pt idx="30">
                  <c:v>1000931</c:v>
                </c:pt>
                <c:pt idx="31">
                  <c:v>945773</c:v>
                </c:pt>
                <c:pt idx="32">
                  <c:v>927407</c:v>
                </c:pt>
                <c:pt idx="33">
                  <c:v>890664</c:v>
                </c:pt>
                <c:pt idx="34">
                  <c:v>916961</c:v>
                </c:pt>
                <c:pt idx="35">
                  <c:v>909542</c:v>
                </c:pt>
                <c:pt idx="36">
                  <c:v>860472</c:v>
                </c:pt>
                <c:pt idx="37">
                  <c:v>850199</c:v>
                </c:pt>
                <c:pt idx="38">
                  <c:v>844983</c:v>
                </c:pt>
                <c:pt idx="39">
                  <c:v>893182</c:v>
                </c:pt>
                <c:pt idx="40">
                  <c:v>850362</c:v>
                </c:pt>
                <c:pt idx="41">
                  <c:v>835639</c:v>
                </c:pt>
                <c:pt idx="42">
                  <c:v>824492</c:v>
                </c:pt>
                <c:pt idx="43">
                  <c:v>850692</c:v>
                </c:pt>
                <c:pt idx="44">
                  <c:v>838512</c:v>
                </c:pt>
                <c:pt idx="45">
                  <c:v>788035</c:v>
                </c:pt>
                <c:pt idx="46">
                  <c:v>747921</c:v>
                </c:pt>
                <c:pt idx="47">
                  <c:v>836127</c:v>
                </c:pt>
                <c:pt idx="48">
                  <c:v>898081</c:v>
                </c:pt>
                <c:pt idx="49">
                  <c:v>857373</c:v>
                </c:pt>
                <c:pt idx="50">
                  <c:v>910192</c:v>
                </c:pt>
                <c:pt idx="51">
                  <c:v>728699</c:v>
                </c:pt>
                <c:pt idx="52">
                  <c:v>824991</c:v>
                </c:pt>
                <c:pt idx="53">
                  <c:v>781875</c:v>
                </c:pt>
                <c:pt idx="54">
                  <c:v>748172</c:v>
                </c:pt>
                <c:pt idx="55">
                  <c:v>797534</c:v>
                </c:pt>
                <c:pt idx="56">
                  <c:v>851612</c:v>
                </c:pt>
                <c:pt idx="57">
                  <c:v>830431</c:v>
                </c:pt>
                <c:pt idx="58">
                  <c:v>790047</c:v>
                </c:pt>
                <c:pt idx="59">
                  <c:v>858906</c:v>
                </c:pt>
                <c:pt idx="60">
                  <c:v>909454</c:v>
                </c:pt>
                <c:pt idx="61">
                  <c:v>906023</c:v>
                </c:pt>
                <c:pt idx="62">
                  <c:v>862026</c:v>
                </c:pt>
                <c:pt idx="63">
                  <c:v>848186</c:v>
                </c:pt>
                <c:pt idx="64">
                  <c:v>867282</c:v>
                </c:pt>
                <c:pt idx="65">
                  <c:v>836506</c:v>
                </c:pt>
                <c:pt idx="66">
                  <c:v>719746</c:v>
                </c:pt>
                <c:pt idx="67">
                  <c:v>693889</c:v>
                </c:pt>
                <c:pt idx="68">
                  <c:v>662154</c:v>
                </c:pt>
                <c:pt idx="69">
                  <c:v>709633</c:v>
                </c:pt>
                <c:pt idx="70">
                  <c:v>715816</c:v>
                </c:pt>
                <c:pt idx="71">
                  <c:v>706929</c:v>
                </c:pt>
                <c:pt idx="72">
                  <c:v>738071</c:v>
                </c:pt>
                <c:pt idx="73">
                  <c:v>734619</c:v>
                </c:pt>
                <c:pt idx="74">
                  <c:v>820517</c:v>
                </c:pt>
                <c:pt idx="75">
                  <c:v>758841</c:v>
                </c:pt>
                <c:pt idx="76">
                  <c:v>779052</c:v>
                </c:pt>
                <c:pt idx="77">
                  <c:v>936114</c:v>
                </c:pt>
                <c:pt idx="78">
                  <c:v>1037667</c:v>
                </c:pt>
                <c:pt idx="79">
                  <c:v>941386</c:v>
                </c:pt>
                <c:pt idx="80">
                  <c:v>945131</c:v>
                </c:pt>
                <c:pt idx="81">
                  <c:v>910355</c:v>
                </c:pt>
                <c:pt idx="82">
                  <c:v>964222</c:v>
                </c:pt>
                <c:pt idx="83">
                  <c:v>950397</c:v>
                </c:pt>
                <c:pt idx="84">
                  <c:v>926635</c:v>
                </c:pt>
                <c:pt idx="85">
                  <c:v>898875</c:v>
                </c:pt>
                <c:pt idx="86">
                  <c:v>909499</c:v>
                </c:pt>
                <c:pt idx="87">
                  <c:v>957192</c:v>
                </c:pt>
                <c:pt idx="88">
                  <c:v>871983</c:v>
                </c:pt>
                <c:pt idx="89">
                  <c:v>869089</c:v>
                </c:pt>
                <c:pt idx="90">
                  <c:v>855637</c:v>
                </c:pt>
                <c:pt idx="91">
                  <c:v>1002830</c:v>
                </c:pt>
                <c:pt idx="92">
                  <c:v>867743</c:v>
                </c:pt>
                <c:pt idx="93">
                  <c:v>852418</c:v>
                </c:pt>
                <c:pt idx="94">
                  <c:v>835296</c:v>
                </c:pt>
                <c:pt idx="95">
                  <c:v>836686</c:v>
                </c:pt>
                <c:pt idx="96">
                  <c:v>877870</c:v>
                </c:pt>
                <c:pt idx="97">
                  <c:v>814379</c:v>
                </c:pt>
                <c:pt idx="98">
                  <c:v>821115</c:v>
                </c:pt>
                <c:pt idx="99">
                  <c:v>757715</c:v>
                </c:pt>
                <c:pt idx="100">
                  <c:v>850383</c:v>
                </c:pt>
                <c:pt idx="101">
                  <c:v>855921</c:v>
                </c:pt>
                <c:pt idx="102">
                  <c:v>878781</c:v>
                </c:pt>
                <c:pt idx="103">
                  <c:v>750002</c:v>
                </c:pt>
                <c:pt idx="104">
                  <c:v>772327</c:v>
                </c:pt>
                <c:pt idx="105">
                  <c:v>733302</c:v>
                </c:pt>
                <c:pt idx="106">
                  <c:v>766914</c:v>
                </c:pt>
                <c:pt idx="107">
                  <c:v>69547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2732</c:v>
                </c:pt>
                <c:pt idx="1">
                  <c:v>16805</c:v>
                </c:pt>
                <c:pt idx="2">
                  <c:v>10936</c:v>
                </c:pt>
                <c:pt idx="3">
                  <c:v>4899</c:v>
                </c:pt>
                <c:pt idx="4">
                  <c:v>3963</c:v>
                </c:pt>
                <c:pt idx="5">
                  <c:v>2114</c:v>
                </c:pt>
                <c:pt idx="6">
                  <c:v>2775</c:v>
                </c:pt>
                <c:pt idx="7">
                  <c:v>2991</c:v>
                </c:pt>
                <c:pt idx="8">
                  <c:v>1455</c:v>
                </c:pt>
                <c:pt idx="9">
                  <c:v>1648</c:v>
                </c:pt>
                <c:pt idx="10">
                  <c:v>930</c:v>
                </c:pt>
                <c:pt idx="11">
                  <c:v>2390</c:v>
                </c:pt>
                <c:pt idx="12">
                  <c:v>2103</c:v>
                </c:pt>
                <c:pt idx="13">
                  <c:v>937</c:v>
                </c:pt>
                <c:pt idx="14">
                  <c:v>1140</c:v>
                </c:pt>
                <c:pt idx="15">
                  <c:v>910</c:v>
                </c:pt>
                <c:pt idx="16">
                  <c:v>407</c:v>
                </c:pt>
                <c:pt idx="17">
                  <c:v>484</c:v>
                </c:pt>
                <c:pt idx="18">
                  <c:v>426</c:v>
                </c:pt>
                <c:pt idx="19">
                  <c:v>373</c:v>
                </c:pt>
                <c:pt idx="20">
                  <c:v>1120</c:v>
                </c:pt>
                <c:pt idx="21">
                  <c:v>5994</c:v>
                </c:pt>
                <c:pt idx="22">
                  <c:v>1385</c:v>
                </c:pt>
                <c:pt idx="23">
                  <c:v>2386</c:v>
                </c:pt>
                <c:pt idx="24">
                  <c:v>8304</c:v>
                </c:pt>
                <c:pt idx="25">
                  <c:v>2393</c:v>
                </c:pt>
                <c:pt idx="26">
                  <c:v>1179</c:v>
                </c:pt>
                <c:pt idx="27">
                  <c:v>2067</c:v>
                </c:pt>
                <c:pt idx="28">
                  <c:v>12681</c:v>
                </c:pt>
                <c:pt idx="29">
                  <c:v>10238</c:v>
                </c:pt>
                <c:pt idx="30">
                  <c:v>7241</c:v>
                </c:pt>
                <c:pt idx="31">
                  <c:v>6342</c:v>
                </c:pt>
                <c:pt idx="32">
                  <c:v>7386</c:v>
                </c:pt>
                <c:pt idx="33">
                  <c:v>7623</c:v>
                </c:pt>
                <c:pt idx="34">
                  <c:v>6801</c:v>
                </c:pt>
                <c:pt idx="35">
                  <c:v>7557</c:v>
                </c:pt>
                <c:pt idx="36">
                  <c:v>10640</c:v>
                </c:pt>
                <c:pt idx="37">
                  <c:v>13361</c:v>
                </c:pt>
                <c:pt idx="38">
                  <c:v>14270</c:v>
                </c:pt>
                <c:pt idx="39">
                  <c:v>13424</c:v>
                </c:pt>
                <c:pt idx="40">
                  <c:v>10866</c:v>
                </c:pt>
                <c:pt idx="41">
                  <c:v>9492</c:v>
                </c:pt>
                <c:pt idx="42">
                  <c:v>8631</c:v>
                </c:pt>
                <c:pt idx="43">
                  <c:v>7255</c:v>
                </c:pt>
                <c:pt idx="44">
                  <c:v>7371</c:v>
                </c:pt>
                <c:pt idx="45">
                  <c:v>6129</c:v>
                </c:pt>
                <c:pt idx="46">
                  <c:v>3043</c:v>
                </c:pt>
                <c:pt idx="47">
                  <c:v>1882</c:v>
                </c:pt>
                <c:pt idx="48">
                  <c:v>3031</c:v>
                </c:pt>
                <c:pt idx="49">
                  <c:v>6876</c:v>
                </c:pt>
                <c:pt idx="50">
                  <c:v>10430</c:v>
                </c:pt>
                <c:pt idx="51">
                  <c:v>6675</c:v>
                </c:pt>
                <c:pt idx="52">
                  <c:v>19088</c:v>
                </c:pt>
                <c:pt idx="53">
                  <c:v>37833</c:v>
                </c:pt>
                <c:pt idx="54">
                  <c:v>33792</c:v>
                </c:pt>
                <c:pt idx="55">
                  <c:v>34711</c:v>
                </c:pt>
                <c:pt idx="56">
                  <c:v>34036</c:v>
                </c:pt>
                <c:pt idx="57">
                  <c:v>42328</c:v>
                </c:pt>
                <c:pt idx="58">
                  <c:v>45838</c:v>
                </c:pt>
                <c:pt idx="59">
                  <c:v>28448</c:v>
                </c:pt>
                <c:pt idx="60">
                  <c:v>5061</c:v>
                </c:pt>
                <c:pt idx="61">
                  <c:v>3869</c:v>
                </c:pt>
                <c:pt idx="62">
                  <c:v>2780</c:v>
                </c:pt>
                <c:pt idx="63">
                  <c:v>6060</c:v>
                </c:pt>
                <c:pt idx="64">
                  <c:v>5521</c:v>
                </c:pt>
                <c:pt idx="65">
                  <c:v>99224</c:v>
                </c:pt>
                <c:pt idx="66">
                  <c:v>168610</c:v>
                </c:pt>
                <c:pt idx="67">
                  <c:v>173541</c:v>
                </c:pt>
                <c:pt idx="68">
                  <c:v>168751</c:v>
                </c:pt>
                <c:pt idx="69">
                  <c:v>188270</c:v>
                </c:pt>
                <c:pt idx="70">
                  <c:v>191569</c:v>
                </c:pt>
                <c:pt idx="71">
                  <c:v>189183</c:v>
                </c:pt>
                <c:pt idx="72">
                  <c:v>199318</c:v>
                </c:pt>
                <c:pt idx="73">
                  <c:v>197256</c:v>
                </c:pt>
                <c:pt idx="74">
                  <c:v>220550</c:v>
                </c:pt>
                <c:pt idx="75">
                  <c:v>202736</c:v>
                </c:pt>
                <c:pt idx="76">
                  <c:v>175344</c:v>
                </c:pt>
                <c:pt idx="77">
                  <c:v>24785</c:v>
                </c:pt>
                <c:pt idx="78">
                  <c:v>18451</c:v>
                </c:pt>
                <c:pt idx="79">
                  <c:v>18763</c:v>
                </c:pt>
                <c:pt idx="80">
                  <c:v>17632</c:v>
                </c:pt>
                <c:pt idx="81">
                  <c:v>13605</c:v>
                </c:pt>
                <c:pt idx="82">
                  <c:v>10963</c:v>
                </c:pt>
                <c:pt idx="83">
                  <c:v>11276</c:v>
                </c:pt>
                <c:pt idx="84">
                  <c:v>16761</c:v>
                </c:pt>
                <c:pt idx="85">
                  <c:v>19425</c:v>
                </c:pt>
                <c:pt idx="86">
                  <c:v>17810</c:v>
                </c:pt>
                <c:pt idx="87">
                  <c:v>10341</c:v>
                </c:pt>
                <c:pt idx="88">
                  <c:v>10815</c:v>
                </c:pt>
                <c:pt idx="89">
                  <c:v>7796</c:v>
                </c:pt>
                <c:pt idx="90">
                  <c:v>7993</c:v>
                </c:pt>
                <c:pt idx="91">
                  <c:v>10398</c:v>
                </c:pt>
                <c:pt idx="92">
                  <c:v>10445</c:v>
                </c:pt>
                <c:pt idx="93">
                  <c:v>13877</c:v>
                </c:pt>
                <c:pt idx="94">
                  <c:v>13360</c:v>
                </c:pt>
                <c:pt idx="95">
                  <c:v>11408</c:v>
                </c:pt>
                <c:pt idx="96">
                  <c:v>10820</c:v>
                </c:pt>
                <c:pt idx="97">
                  <c:v>10377</c:v>
                </c:pt>
                <c:pt idx="98">
                  <c:v>8027</c:v>
                </c:pt>
                <c:pt idx="99">
                  <c:v>5346</c:v>
                </c:pt>
                <c:pt idx="100">
                  <c:v>8594</c:v>
                </c:pt>
                <c:pt idx="101">
                  <c:v>7319</c:v>
                </c:pt>
                <c:pt idx="102">
                  <c:v>8022</c:v>
                </c:pt>
                <c:pt idx="103">
                  <c:v>8511</c:v>
                </c:pt>
                <c:pt idx="104">
                  <c:v>7314</c:v>
                </c:pt>
                <c:pt idx="105">
                  <c:v>8257</c:v>
                </c:pt>
                <c:pt idx="106">
                  <c:v>14342</c:v>
                </c:pt>
                <c:pt idx="107">
                  <c:v>146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4522</c:v>
                </c:pt>
                <c:pt idx="1">
                  <c:v>15778</c:v>
                </c:pt>
                <c:pt idx="2">
                  <c:v>17550</c:v>
                </c:pt>
                <c:pt idx="3">
                  <c:v>18314</c:v>
                </c:pt>
                <c:pt idx="4">
                  <c:v>19606</c:v>
                </c:pt>
                <c:pt idx="5">
                  <c:v>18010</c:v>
                </c:pt>
                <c:pt idx="6">
                  <c:v>15124</c:v>
                </c:pt>
                <c:pt idx="7">
                  <c:v>11682</c:v>
                </c:pt>
                <c:pt idx="8">
                  <c:v>10786</c:v>
                </c:pt>
                <c:pt idx="9">
                  <c:v>10832</c:v>
                </c:pt>
                <c:pt idx="10">
                  <c:v>6970</c:v>
                </c:pt>
                <c:pt idx="11">
                  <c:v>4926</c:v>
                </c:pt>
                <c:pt idx="12">
                  <c:v>3030</c:v>
                </c:pt>
                <c:pt idx="13">
                  <c:v>2086</c:v>
                </c:pt>
                <c:pt idx="14">
                  <c:v>3004</c:v>
                </c:pt>
                <c:pt idx="15">
                  <c:v>9706</c:v>
                </c:pt>
                <c:pt idx="16">
                  <c:v>15682</c:v>
                </c:pt>
                <c:pt idx="17">
                  <c:v>18092</c:v>
                </c:pt>
                <c:pt idx="18">
                  <c:v>17852</c:v>
                </c:pt>
                <c:pt idx="19">
                  <c:v>17714</c:v>
                </c:pt>
                <c:pt idx="20">
                  <c:v>18206</c:v>
                </c:pt>
                <c:pt idx="21">
                  <c:v>19362</c:v>
                </c:pt>
                <c:pt idx="22">
                  <c:v>19396</c:v>
                </c:pt>
                <c:pt idx="23">
                  <c:v>18960</c:v>
                </c:pt>
                <c:pt idx="24">
                  <c:v>18446</c:v>
                </c:pt>
                <c:pt idx="25">
                  <c:v>18976</c:v>
                </c:pt>
                <c:pt idx="26">
                  <c:v>19176</c:v>
                </c:pt>
                <c:pt idx="27">
                  <c:v>17018</c:v>
                </c:pt>
                <c:pt idx="28">
                  <c:v>16364</c:v>
                </c:pt>
                <c:pt idx="29">
                  <c:v>15216</c:v>
                </c:pt>
                <c:pt idx="30">
                  <c:v>16976</c:v>
                </c:pt>
                <c:pt idx="31">
                  <c:v>15698</c:v>
                </c:pt>
                <c:pt idx="32">
                  <c:v>16060</c:v>
                </c:pt>
                <c:pt idx="33">
                  <c:v>15454</c:v>
                </c:pt>
                <c:pt idx="34">
                  <c:v>14868</c:v>
                </c:pt>
                <c:pt idx="35">
                  <c:v>14974</c:v>
                </c:pt>
                <c:pt idx="36">
                  <c:v>13662</c:v>
                </c:pt>
                <c:pt idx="37">
                  <c:v>13692</c:v>
                </c:pt>
                <c:pt idx="38">
                  <c:v>13498</c:v>
                </c:pt>
                <c:pt idx="39">
                  <c:v>13990</c:v>
                </c:pt>
                <c:pt idx="40">
                  <c:v>13030</c:v>
                </c:pt>
                <c:pt idx="41">
                  <c:v>12642</c:v>
                </c:pt>
                <c:pt idx="42">
                  <c:v>12808</c:v>
                </c:pt>
                <c:pt idx="43">
                  <c:v>13168</c:v>
                </c:pt>
                <c:pt idx="44">
                  <c:v>13418</c:v>
                </c:pt>
                <c:pt idx="45">
                  <c:v>12582</c:v>
                </c:pt>
                <c:pt idx="46">
                  <c:v>11826</c:v>
                </c:pt>
                <c:pt idx="47">
                  <c:v>12300</c:v>
                </c:pt>
                <c:pt idx="48">
                  <c:v>13352</c:v>
                </c:pt>
                <c:pt idx="49">
                  <c:v>12822</c:v>
                </c:pt>
                <c:pt idx="50">
                  <c:v>15270</c:v>
                </c:pt>
                <c:pt idx="51">
                  <c:v>12388</c:v>
                </c:pt>
                <c:pt idx="52">
                  <c:v>13208</c:v>
                </c:pt>
                <c:pt idx="53">
                  <c:v>12118</c:v>
                </c:pt>
                <c:pt idx="54">
                  <c:v>10732</c:v>
                </c:pt>
                <c:pt idx="55">
                  <c:v>11680</c:v>
                </c:pt>
                <c:pt idx="56">
                  <c:v>12180</c:v>
                </c:pt>
                <c:pt idx="57">
                  <c:v>11788</c:v>
                </c:pt>
                <c:pt idx="58">
                  <c:v>11620</c:v>
                </c:pt>
                <c:pt idx="59">
                  <c:v>12112</c:v>
                </c:pt>
                <c:pt idx="60">
                  <c:v>12454</c:v>
                </c:pt>
                <c:pt idx="61">
                  <c:v>12532</c:v>
                </c:pt>
                <c:pt idx="62">
                  <c:v>11568</c:v>
                </c:pt>
                <c:pt idx="63">
                  <c:v>11360</c:v>
                </c:pt>
                <c:pt idx="64">
                  <c:v>11956</c:v>
                </c:pt>
                <c:pt idx="65">
                  <c:v>11974</c:v>
                </c:pt>
                <c:pt idx="66">
                  <c:v>11810</c:v>
                </c:pt>
                <c:pt idx="67">
                  <c:v>11854</c:v>
                </c:pt>
                <c:pt idx="68">
                  <c:v>11626</c:v>
                </c:pt>
                <c:pt idx="69">
                  <c:v>12746</c:v>
                </c:pt>
                <c:pt idx="70">
                  <c:v>12014</c:v>
                </c:pt>
                <c:pt idx="71">
                  <c:v>11260</c:v>
                </c:pt>
                <c:pt idx="72">
                  <c:v>11794</c:v>
                </c:pt>
                <c:pt idx="73">
                  <c:v>12150</c:v>
                </c:pt>
                <c:pt idx="74">
                  <c:v>13100</c:v>
                </c:pt>
                <c:pt idx="75">
                  <c:v>12234</c:v>
                </c:pt>
                <c:pt idx="76">
                  <c:v>11410</c:v>
                </c:pt>
                <c:pt idx="77">
                  <c:v>8662</c:v>
                </c:pt>
                <c:pt idx="78">
                  <c:v>6996</c:v>
                </c:pt>
                <c:pt idx="79">
                  <c:v>4252</c:v>
                </c:pt>
                <c:pt idx="80">
                  <c:v>3462</c:v>
                </c:pt>
                <c:pt idx="81">
                  <c:v>6676</c:v>
                </c:pt>
                <c:pt idx="82">
                  <c:v>10556</c:v>
                </c:pt>
                <c:pt idx="83">
                  <c:v>11024</c:v>
                </c:pt>
                <c:pt idx="84">
                  <c:v>11662</c:v>
                </c:pt>
                <c:pt idx="85">
                  <c:v>11688</c:v>
                </c:pt>
                <c:pt idx="86">
                  <c:v>11938</c:v>
                </c:pt>
                <c:pt idx="87">
                  <c:v>11670</c:v>
                </c:pt>
                <c:pt idx="88">
                  <c:v>11066</c:v>
                </c:pt>
                <c:pt idx="89">
                  <c:v>10814</c:v>
                </c:pt>
                <c:pt idx="90">
                  <c:v>10408</c:v>
                </c:pt>
                <c:pt idx="91">
                  <c:v>11444</c:v>
                </c:pt>
                <c:pt idx="92">
                  <c:v>10310</c:v>
                </c:pt>
                <c:pt idx="93">
                  <c:v>10668</c:v>
                </c:pt>
                <c:pt idx="94">
                  <c:v>10128</c:v>
                </c:pt>
                <c:pt idx="95">
                  <c:v>10242</c:v>
                </c:pt>
                <c:pt idx="96">
                  <c:v>10825</c:v>
                </c:pt>
                <c:pt idx="97">
                  <c:v>10044</c:v>
                </c:pt>
                <c:pt idx="98">
                  <c:v>9758</c:v>
                </c:pt>
                <c:pt idx="99">
                  <c:v>9276</c:v>
                </c:pt>
                <c:pt idx="100">
                  <c:v>10171</c:v>
                </c:pt>
                <c:pt idx="101">
                  <c:v>10064</c:v>
                </c:pt>
                <c:pt idx="102">
                  <c:v>10558</c:v>
                </c:pt>
                <c:pt idx="103">
                  <c:v>11044</c:v>
                </c:pt>
                <c:pt idx="104">
                  <c:v>10236</c:v>
                </c:pt>
                <c:pt idx="105">
                  <c:v>9550</c:v>
                </c:pt>
                <c:pt idx="106">
                  <c:v>10832</c:v>
                </c:pt>
                <c:pt idx="107">
                  <c:v>1024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2</c:v>
                </c:pt>
                <c:pt idx="1">
                  <c:v>4</c:v>
                </c:pt>
                <c:pt idx="2">
                  <c:v>36</c:v>
                </c:pt>
                <c:pt idx="3">
                  <c:v>32</c:v>
                </c:pt>
                <c:pt idx="4">
                  <c:v>24</c:v>
                </c:pt>
                <c:pt idx="5">
                  <c:v>30</c:v>
                </c:pt>
                <c:pt idx="6">
                  <c:v>12</c:v>
                </c:pt>
                <c:pt idx="7">
                  <c:v>18</c:v>
                </c:pt>
                <c:pt idx="8">
                  <c:v>6</c:v>
                </c:pt>
                <c:pt idx="9">
                  <c:v>2</c:v>
                </c:pt>
                <c:pt idx="10">
                  <c:v>4</c:v>
                </c:pt>
                <c:pt idx="11">
                  <c:v>46</c:v>
                </c:pt>
                <c:pt idx="12">
                  <c:v>26</c:v>
                </c:pt>
                <c:pt idx="13">
                  <c:v>26</c:v>
                </c:pt>
                <c:pt idx="14">
                  <c:v>1636</c:v>
                </c:pt>
                <c:pt idx="15">
                  <c:v>1336</c:v>
                </c:pt>
                <c:pt idx="16">
                  <c:v>576</c:v>
                </c:pt>
                <c:pt idx="17">
                  <c:v>302</c:v>
                </c:pt>
                <c:pt idx="18">
                  <c:v>222</c:v>
                </c:pt>
                <c:pt idx="19">
                  <c:v>146</c:v>
                </c:pt>
                <c:pt idx="20">
                  <c:v>154</c:v>
                </c:pt>
                <c:pt idx="21">
                  <c:v>92</c:v>
                </c:pt>
                <c:pt idx="22">
                  <c:v>122</c:v>
                </c:pt>
                <c:pt idx="23">
                  <c:v>50</c:v>
                </c:pt>
                <c:pt idx="24">
                  <c:v>84</c:v>
                </c:pt>
                <c:pt idx="25">
                  <c:v>112</c:v>
                </c:pt>
                <c:pt idx="26">
                  <c:v>166</c:v>
                </c:pt>
                <c:pt idx="27">
                  <c:v>94</c:v>
                </c:pt>
                <c:pt idx="28">
                  <c:v>76</c:v>
                </c:pt>
                <c:pt idx="29">
                  <c:v>100</c:v>
                </c:pt>
                <c:pt idx="30">
                  <c:v>78</c:v>
                </c:pt>
                <c:pt idx="31">
                  <c:v>96</c:v>
                </c:pt>
                <c:pt idx="32">
                  <c:v>108</c:v>
                </c:pt>
                <c:pt idx="33">
                  <c:v>150</c:v>
                </c:pt>
                <c:pt idx="34">
                  <c:v>146</c:v>
                </c:pt>
                <c:pt idx="35">
                  <c:v>68</c:v>
                </c:pt>
                <c:pt idx="36">
                  <c:v>136</c:v>
                </c:pt>
                <c:pt idx="37">
                  <c:v>96</c:v>
                </c:pt>
                <c:pt idx="38">
                  <c:v>106</c:v>
                </c:pt>
                <c:pt idx="39">
                  <c:v>192</c:v>
                </c:pt>
                <c:pt idx="40">
                  <c:v>252</c:v>
                </c:pt>
                <c:pt idx="41">
                  <c:v>200</c:v>
                </c:pt>
                <c:pt idx="42">
                  <c:v>270</c:v>
                </c:pt>
                <c:pt idx="43">
                  <c:v>256</c:v>
                </c:pt>
                <c:pt idx="44">
                  <c:v>192</c:v>
                </c:pt>
                <c:pt idx="45">
                  <c:v>274</c:v>
                </c:pt>
                <c:pt idx="46">
                  <c:v>308</c:v>
                </c:pt>
                <c:pt idx="47">
                  <c:v>260</c:v>
                </c:pt>
                <c:pt idx="48">
                  <c:v>292</c:v>
                </c:pt>
                <c:pt idx="49">
                  <c:v>256</c:v>
                </c:pt>
                <c:pt idx="50">
                  <c:v>302</c:v>
                </c:pt>
                <c:pt idx="51">
                  <c:v>282</c:v>
                </c:pt>
                <c:pt idx="52">
                  <c:v>210</c:v>
                </c:pt>
                <c:pt idx="53">
                  <c:v>340</c:v>
                </c:pt>
                <c:pt idx="54">
                  <c:v>226</c:v>
                </c:pt>
                <c:pt idx="55">
                  <c:v>228</c:v>
                </c:pt>
                <c:pt idx="56">
                  <c:v>262</c:v>
                </c:pt>
                <c:pt idx="57">
                  <c:v>322</c:v>
                </c:pt>
                <c:pt idx="58">
                  <c:v>222</c:v>
                </c:pt>
                <c:pt idx="59">
                  <c:v>286</c:v>
                </c:pt>
                <c:pt idx="60">
                  <c:v>298</c:v>
                </c:pt>
                <c:pt idx="61">
                  <c:v>316</c:v>
                </c:pt>
                <c:pt idx="62">
                  <c:v>316</c:v>
                </c:pt>
                <c:pt idx="63">
                  <c:v>188</c:v>
                </c:pt>
                <c:pt idx="64">
                  <c:v>224</c:v>
                </c:pt>
                <c:pt idx="65">
                  <c:v>224</c:v>
                </c:pt>
                <c:pt idx="66">
                  <c:v>180</c:v>
                </c:pt>
                <c:pt idx="67">
                  <c:v>280</c:v>
                </c:pt>
                <c:pt idx="68">
                  <c:v>284</c:v>
                </c:pt>
                <c:pt idx="69">
                  <c:v>246</c:v>
                </c:pt>
                <c:pt idx="70">
                  <c:v>258</c:v>
                </c:pt>
                <c:pt idx="71">
                  <c:v>250</c:v>
                </c:pt>
                <c:pt idx="72">
                  <c:v>236</c:v>
                </c:pt>
                <c:pt idx="73">
                  <c:v>216</c:v>
                </c:pt>
                <c:pt idx="74">
                  <c:v>182</c:v>
                </c:pt>
                <c:pt idx="75">
                  <c:v>198</c:v>
                </c:pt>
                <c:pt idx="76">
                  <c:v>270</c:v>
                </c:pt>
                <c:pt idx="77">
                  <c:v>178</c:v>
                </c:pt>
                <c:pt idx="78">
                  <c:v>198</c:v>
                </c:pt>
                <c:pt idx="79">
                  <c:v>106</c:v>
                </c:pt>
                <c:pt idx="80">
                  <c:v>126</c:v>
                </c:pt>
                <c:pt idx="81">
                  <c:v>146</c:v>
                </c:pt>
                <c:pt idx="82">
                  <c:v>196</c:v>
                </c:pt>
                <c:pt idx="83">
                  <c:v>160</c:v>
                </c:pt>
                <c:pt idx="84">
                  <c:v>154</c:v>
                </c:pt>
                <c:pt idx="85">
                  <c:v>132</c:v>
                </c:pt>
                <c:pt idx="86">
                  <c:v>138</c:v>
                </c:pt>
                <c:pt idx="87">
                  <c:v>206</c:v>
                </c:pt>
                <c:pt idx="88">
                  <c:v>194</c:v>
                </c:pt>
                <c:pt idx="89">
                  <c:v>178</c:v>
                </c:pt>
                <c:pt idx="90">
                  <c:v>288</c:v>
                </c:pt>
                <c:pt idx="91">
                  <c:v>242</c:v>
                </c:pt>
                <c:pt idx="92">
                  <c:v>204</c:v>
                </c:pt>
                <c:pt idx="93">
                  <c:v>182</c:v>
                </c:pt>
                <c:pt idx="94">
                  <c:v>166</c:v>
                </c:pt>
                <c:pt idx="95">
                  <c:v>136</c:v>
                </c:pt>
                <c:pt idx="96">
                  <c:v>196</c:v>
                </c:pt>
                <c:pt idx="97">
                  <c:v>186</c:v>
                </c:pt>
                <c:pt idx="98">
                  <c:v>218</c:v>
                </c:pt>
                <c:pt idx="99">
                  <c:v>196</c:v>
                </c:pt>
                <c:pt idx="100">
                  <c:v>196</c:v>
                </c:pt>
                <c:pt idx="101">
                  <c:v>204</c:v>
                </c:pt>
                <c:pt idx="102">
                  <c:v>240</c:v>
                </c:pt>
                <c:pt idx="103">
                  <c:v>238</c:v>
                </c:pt>
                <c:pt idx="104">
                  <c:v>222</c:v>
                </c:pt>
                <c:pt idx="105">
                  <c:v>254</c:v>
                </c:pt>
                <c:pt idx="106">
                  <c:v>186</c:v>
                </c:pt>
                <c:pt idx="107">
                  <c:v>22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47044</c:v>
                </c:pt>
                <c:pt idx="1">
                  <c:v>45392</c:v>
                </c:pt>
                <c:pt idx="2">
                  <c:v>49152</c:v>
                </c:pt>
                <c:pt idx="3">
                  <c:v>49408</c:v>
                </c:pt>
                <c:pt idx="4">
                  <c:v>52032</c:v>
                </c:pt>
                <c:pt idx="5">
                  <c:v>51740</c:v>
                </c:pt>
                <c:pt idx="6">
                  <c:v>48220</c:v>
                </c:pt>
                <c:pt idx="7">
                  <c:v>49880</c:v>
                </c:pt>
                <c:pt idx="8">
                  <c:v>48840</c:v>
                </c:pt>
                <c:pt idx="9">
                  <c:v>45534</c:v>
                </c:pt>
                <c:pt idx="10">
                  <c:v>37284</c:v>
                </c:pt>
                <c:pt idx="11">
                  <c:v>32204</c:v>
                </c:pt>
                <c:pt idx="12">
                  <c:v>26880</c:v>
                </c:pt>
                <c:pt idx="13">
                  <c:v>23978</c:v>
                </c:pt>
                <c:pt idx="14">
                  <c:v>17984</c:v>
                </c:pt>
                <c:pt idx="15">
                  <c:v>38336</c:v>
                </c:pt>
                <c:pt idx="16">
                  <c:v>55360</c:v>
                </c:pt>
                <c:pt idx="17">
                  <c:v>62004</c:v>
                </c:pt>
                <c:pt idx="18">
                  <c:v>59160</c:v>
                </c:pt>
                <c:pt idx="19">
                  <c:v>58500</c:v>
                </c:pt>
                <c:pt idx="20">
                  <c:v>61444</c:v>
                </c:pt>
                <c:pt idx="21">
                  <c:v>65202</c:v>
                </c:pt>
                <c:pt idx="22">
                  <c:v>65224</c:v>
                </c:pt>
                <c:pt idx="23">
                  <c:v>63740</c:v>
                </c:pt>
                <c:pt idx="24">
                  <c:v>62261</c:v>
                </c:pt>
                <c:pt idx="25">
                  <c:v>65245</c:v>
                </c:pt>
                <c:pt idx="26">
                  <c:v>67432</c:v>
                </c:pt>
                <c:pt idx="27">
                  <c:v>67184</c:v>
                </c:pt>
                <c:pt idx="28">
                  <c:v>66436</c:v>
                </c:pt>
                <c:pt idx="29">
                  <c:v>65828</c:v>
                </c:pt>
                <c:pt idx="30">
                  <c:v>72134</c:v>
                </c:pt>
                <c:pt idx="31">
                  <c:v>68664</c:v>
                </c:pt>
                <c:pt idx="32">
                  <c:v>68064</c:v>
                </c:pt>
                <c:pt idx="33">
                  <c:v>66636</c:v>
                </c:pt>
                <c:pt idx="34">
                  <c:v>68864</c:v>
                </c:pt>
                <c:pt idx="35">
                  <c:v>67416</c:v>
                </c:pt>
                <c:pt idx="36">
                  <c:v>62848</c:v>
                </c:pt>
                <c:pt idx="37">
                  <c:v>63992</c:v>
                </c:pt>
                <c:pt idx="38">
                  <c:v>64188</c:v>
                </c:pt>
                <c:pt idx="39">
                  <c:v>67312</c:v>
                </c:pt>
                <c:pt idx="40">
                  <c:v>64256</c:v>
                </c:pt>
                <c:pt idx="41">
                  <c:v>63696</c:v>
                </c:pt>
                <c:pt idx="42">
                  <c:v>63812</c:v>
                </c:pt>
                <c:pt idx="43">
                  <c:v>66832</c:v>
                </c:pt>
                <c:pt idx="44">
                  <c:v>68404</c:v>
                </c:pt>
                <c:pt idx="45">
                  <c:v>64552</c:v>
                </c:pt>
                <c:pt idx="46">
                  <c:v>61536</c:v>
                </c:pt>
                <c:pt idx="47">
                  <c:v>67700</c:v>
                </c:pt>
                <c:pt idx="48">
                  <c:v>70100</c:v>
                </c:pt>
                <c:pt idx="49">
                  <c:v>68444</c:v>
                </c:pt>
                <c:pt idx="50">
                  <c:v>78316</c:v>
                </c:pt>
                <c:pt idx="51">
                  <c:v>59572</c:v>
                </c:pt>
                <c:pt idx="52">
                  <c:v>68840</c:v>
                </c:pt>
                <c:pt idx="53">
                  <c:v>65060</c:v>
                </c:pt>
                <c:pt idx="54">
                  <c:v>60848</c:v>
                </c:pt>
                <c:pt idx="55">
                  <c:v>62776</c:v>
                </c:pt>
                <c:pt idx="56">
                  <c:v>64468</c:v>
                </c:pt>
                <c:pt idx="57">
                  <c:v>65384</c:v>
                </c:pt>
                <c:pt idx="58">
                  <c:v>62048</c:v>
                </c:pt>
                <c:pt idx="59">
                  <c:v>65412</c:v>
                </c:pt>
                <c:pt idx="60">
                  <c:v>68872</c:v>
                </c:pt>
                <c:pt idx="61">
                  <c:v>69220</c:v>
                </c:pt>
                <c:pt idx="62">
                  <c:v>66128</c:v>
                </c:pt>
                <c:pt idx="63">
                  <c:v>62624</c:v>
                </c:pt>
                <c:pt idx="64">
                  <c:v>64564</c:v>
                </c:pt>
                <c:pt idx="65">
                  <c:v>67532</c:v>
                </c:pt>
                <c:pt idx="66">
                  <c:v>67361</c:v>
                </c:pt>
                <c:pt idx="67">
                  <c:v>67176</c:v>
                </c:pt>
                <c:pt idx="68">
                  <c:v>65180</c:v>
                </c:pt>
                <c:pt idx="69">
                  <c:v>69760</c:v>
                </c:pt>
                <c:pt idx="70">
                  <c:v>68018</c:v>
                </c:pt>
                <c:pt idx="71">
                  <c:v>62964</c:v>
                </c:pt>
                <c:pt idx="72">
                  <c:v>67404</c:v>
                </c:pt>
                <c:pt idx="73">
                  <c:v>65228</c:v>
                </c:pt>
                <c:pt idx="74">
                  <c:v>72592</c:v>
                </c:pt>
                <c:pt idx="75">
                  <c:v>67340</c:v>
                </c:pt>
                <c:pt idx="76">
                  <c:v>67928</c:v>
                </c:pt>
                <c:pt idx="77">
                  <c:v>68172</c:v>
                </c:pt>
                <c:pt idx="78">
                  <c:v>74280</c:v>
                </c:pt>
                <c:pt idx="79">
                  <c:v>68352</c:v>
                </c:pt>
                <c:pt idx="80">
                  <c:v>69562</c:v>
                </c:pt>
                <c:pt idx="81">
                  <c:v>68128</c:v>
                </c:pt>
                <c:pt idx="82">
                  <c:v>71876</c:v>
                </c:pt>
                <c:pt idx="83">
                  <c:v>69692</c:v>
                </c:pt>
                <c:pt idx="84">
                  <c:v>69208</c:v>
                </c:pt>
                <c:pt idx="85">
                  <c:v>68032</c:v>
                </c:pt>
                <c:pt idx="86">
                  <c:v>69252</c:v>
                </c:pt>
                <c:pt idx="87">
                  <c:v>70096</c:v>
                </c:pt>
                <c:pt idx="88">
                  <c:v>64880</c:v>
                </c:pt>
                <c:pt idx="89">
                  <c:v>66196</c:v>
                </c:pt>
                <c:pt idx="90">
                  <c:v>64136</c:v>
                </c:pt>
                <c:pt idx="91">
                  <c:v>71704</c:v>
                </c:pt>
                <c:pt idx="92">
                  <c:v>64883</c:v>
                </c:pt>
                <c:pt idx="93">
                  <c:v>66667</c:v>
                </c:pt>
                <c:pt idx="94">
                  <c:v>64948</c:v>
                </c:pt>
                <c:pt idx="95">
                  <c:v>67580</c:v>
                </c:pt>
                <c:pt idx="96">
                  <c:v>69185</c:v>
                </c:pt>
                <c:pt idx="97">
                  <c:v>65992</c:v>
                </c:pt>
                <c:pt idx="98">
                  <c:v>64704</c:v>
                </c:pt>
                <c:pt idx="99">
                  <c:v>59640</c:v>
                </c:pt>
                <c:pt idx="100">
                  <c:v>69044</c:v>
                </c:pt>
                <c:pt idx="101">
                  <c:v>56216</c:v>
                </c:pt>
                <c:pt idx="102">
                  <c:v>51424</c:v>
                </c:pt>
                <c:pt idx="103">
                  <c:v>44016</c:v>
                </c:pt>
                <c:pt idx="104">
                  <c:v>45084</c:v>
                </c:pt>
                <c:pt idx="105">
                  <c:v>40552</c:v>
                </c:pt>
                <c:pt idx="106">
                  <c:v>51828</c:v>
                </c:pt>
                <c:pt idx="107">
                  <c:v>7036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92</c:v>
                </c:pt>
                <c:pt idx="1">
                  <c:v>196</c:v>
                </c:pt>
                <c:pt idx="2">
                  <c:v>240</c:v>
                </c:pt>
                <c:pt idx="3">
                  <c:v>376</c:v>
                </c:pt>
                <c:pt idx="4">
                  <c:v>228</c:v>
                </c:pt>
                <c:pt idx="5">
                  <c:v>260</c:v>
                </c:pt>
                <c:pt idx="6">
                  <c:v>268</c:v>
                </c:pt>
                <c:pt idx="7">
                  <c:v>160</c:v>
                </c:pt>
                <c:pt idx="8">
                  <c:v>492</c:v>
                </c:pt>
                <c:pt idx="9">
                  <c:v>364</c:v>
                </c:pt>
                <c:pt idx="10">
                  <c:v>264</c:v>
                </c:pt>
                <c:pt idx="11">
                  <c:v>312</c:v>
                </c:pt>
                <c:pt idx="12">
                  <c:v>232</c:v>
                </c:pt>
                <c:pt idx="13">
                  <c:v>164</c:v>
                </c:pt>
                <c:pt idx="14">
                  <c:v>16144</c:v>
                </c:pt>
                <c:pt idx="15">
                  <c:v>17848</c:v>
                </c:pt>
                <c:pt idx="16">
                  <c:v>8392</c:v>
                </c:pt>
                <c:pt idx="17">
                  <c:v>6620</c:v>
                </c:pt>
                <c:pt idx="18">
                  <c:v>4692</c:v>
                </c:pt>
                <c:pt idx="19">
                  <c:v>3160</c:v>
                </c:pt>
                <c:pt idx="20">
                  <c:v>2424</c:v>
                </c:pt>
                <c:pt idx="21">
                  <c:v>1748</c:v>
                </c:pt>
                <c:pt idx="22">
                  <c:v>1992</c:v>
                </c:pt>
                <c:pt idx="23">
                  <c:v>996</c:v>
                </c:pt>
                <c:pt idx="24">
                  <c:v>888</c:v>
                </c:pt>
                <c:pt idx="25">
                  <c:v>648</c:v>
                </c:pt>
                <c:pt idx="26">
                  <c:v>580</c:v>
                </c:pt>
                <c:pt idx="27">
                  <c:v>356</c:v>
                </c:pt>
                <c:pt idx="28">
                  <c:v>476</c:v>
                </c:pt>
                <c:pt idx="29">
                  <c:v>500</c:v>
                </c:pt>
                <c:pt idx="30">
                  <c:v>484</c:v>
                </c:pt>
                <c:pt idx="31">
                  <c:v>284</c:v>
                </c:pt>
                <c:pt idx="32">
                  <c:v>440</c:v>
                </c:pt>
                <c:pt idx="33">
                  <c:v>208</c:v>
                </c:pt>
                <c:pt idx="34">
                  <c:v>264</c:v>
                </c:pt>
                <c:pt idx="35">
                  <c:v>240</c:v>
                </c:pt>
                <c:pt idx="36">
                  <c:v>324</c:v>
                </c:pt>
                <c:pt idx="37">
                  <c:v>276</c:v>
                </c:pt>
                <c:pt idx="38">
                  <c:v>648</c:v>
                </c:pt>
                <c:pt idx="39">
                  <c:v>856</c:v>
                </c:pt>
                <c:pt idx="40">
                  <c:v>444</c:v>
                </c:pt>
                <c:pt idx="41">
                  <c:v>780</c:v>
                </c:pt>
                <c:pt idx="42">
                  <c:v>836</c:v>
                </c:pt>
                <c:pt idx="43">
                  <c:v>800</c:v>
                </c:pt>
                <c:pt idx="44">
                  <c:v>876</c:v>
                </c:pt>
                <c:pt idx="45">
                  <c:v>916</c:v>
                </c:pt>
                <c:pt idx="46">
                  <c:v>840</c:v>
                </c:pt>
                <c:pt idx="47">
                  <c:v>880</c:v>
                </c:pt>
                <c:pt idx="48">
                  <c:v>1068</c:v>
                </c:pt>
                <c:pt idx="49">
                  <c:v>868</c:v>
                </c:pt>
                <c:pt idx="50">
                  <c:v>1004</c:v>
                </c:pt>
                <c:pt idx="51">
                  <c:v>688</c:v>
                </c:pt>
                <c:pt idx="52">
                  <c:v>848</c:v>
                </c:pt>
                <c:pt idx="53">
                  <c:v>864</c:v>
                </c:pt>
                <c:pt idx="54">
                  <c:v>864</c:v>
                </c:pt>
                <c:pt idx="55">
                  <c:v>864</c:v>
                </c:pt>
                <c:pt idx="56">
                  <c:v>808</c:v>
                </c:pt>
                <c:pt idx="57">
                  <c:v>908</c:v>
                </c:pt>
                <c:pt idx="58">
                  <c:v>728</c:v>
                </c:pt>
                <c:pt idx="59">
                  <c:v>1076</c:v>
                </c:pt>
                <c:pt idx="60">
                  <c:v>748</c:v>
                </c:pt>
                <c:pt idx="61">
                  <c:v>784</c:v>
                </c:pt>
                <c:pt idx="62">
                  <c:v>908</c:v>
                </c:pt>
                <c:pt idx="63">
                  <c:v>780</c:v>
                </c:pt>
                <c:pt idx="64">
                  <c:v>940</c:v>
                </c:pt>
                <c:pt idx="65">
                  <c:v>848</c:v>
                </c:pt>
                <c:pt idx="66">
                  <c:v>772</c:v>
                </c:pt>
                <c:pt idx="67">
                  <c:v>804</c:v>
                </c:pt>
                <c:pt idx="68">
                  <c:v>732</c:v>
                </c:pt>
                <c:pt idx="69">
                  <c:v>796</c:v>
                </c:pt>
                <c:pt idx="70">
                  <c:v>804</c:v>
                </c:pt>
                <c:pt idx="71">
                  <c:v>644</c:v>
                </c:pt>
                <c:pt idx="72">
                  <c:v>648</c:v>
                </c:pt>
                <c:pt idx="73">
                  <c:v>632</c:v>
                </c:pt>
                <c:pt idx="74">
                  <c:v>636</c:v>
                </c:pt>
                <c:pt idx="75">
                  <c:v>1008</c:v>
                </c:pt>
                <c:pt idx="76">
                  <c:v>708</c:v>
                </c:pt>
                <c:pt idx="77">
                  <c:v>776</c:v>
                </c:pt>
                <c:pt idx="78">
                  <c:v>804</c:v>
                </c:pt>
                <c:pt idx="79">
                  <c:v>856</c:v>
                </c:pt>
                <c:pt idx="80">
                  <c:v>540</c:v>
                </c:pt>
                <c:pt idx="81">
                  <c:v>668</c:v>
                </c:pt>
                <c:pt idx="82">
                  <c:v>728</c:v>
                </c:pt>
                <c:pt idx="83">
                  <c:v>588</c:v>
                </c:pt>
                <c:pt idx="84">
                  <c:v>760</c:v>
                </c:pt>
                <c:pt idx="85">
                  <c:v>892</c:v>
                </c:pt>
                <c:pt idx="86">
                  <c:v>508</c:v>
                </c:pt>
                <c:pt idx="87">
                  <c:v>760</c:v>
                </c:pt>
                <c:pt idx="88">
                  <c:v>616</c:v>
                </c:pt>
                <c:pt idx="89">
                  <c:v>696</c:v>
                </c:pt>
                <c:pt idx="90">
                  <c:v>629</c:v>
                </c:pt>
                <c:pt idx="91">
                  <c:v>672</c:v>
                </c:pt>
                <c:pt idx="92">
                  <c:v>668</c:v>
                </c:pt>
                <c:pt idx="93">
                  <c:v>788</c:v>
                </c:pt>
                <c:pt idx="94">
                  <c:v>464</c:v>
                </c:pt>
                <c:pt idx="95">
                  <c:v>672</c:v>
                </c:pt>
                <c:pt idx="96">
                  <c:v>624</c:v>
                </c:pt>
                <c:pt idx="97">
                  <c:v>500</c:v>
                </c:pt>
                <c:pt idx="98">
                  <c:v>604</c:v>
                </c:pt>
                <c:pt idx="99">
                  <c:v>500</c:v>
                </c:pt>
                <c:pt idx="100">
                  <c:v>700</c:v>
                </c:pt>
                <c:pt idx="101">
                  <c:v>18164</c:v>
                </c:pt>
                <c:pt idx="102">
                  <c:v>26352</c:v>
                </c:pt>
                <c:pt idx="103">
                  <c:v>15816</c:v>
                </c:pt>
                <c:pt idx="104">
                  <c:v>22048</c:v>
                </c:pt>
                <c:pt idx="105">
                  <c:v>14636</c:v>
                </c:pt>
                <c:pt idx="106">
                  <c:v>6964</c:v>
                </c:pt>
                <c:pt idx="107">
                  <c:v>3156</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56680</c:v>
                </c:pt>
                <c:pt idx="1">
                  <c:v>232060</c:v>
                </c:pt>
                <c:pt idx="2">
                  <c:v>238860</c:v>
                </c:pt>
                <c:pt idx="3">
                  <c:v>189020</c:v>
                </c:pt>
                <c:pt idx="4">
                  <c:v>258420</c:v>
                </c:pt>
                <c:pt idx="5">
                  <c:v>248040</c:v>
                </c:pt>
                <c:pt idx="6">
                  <c:v>233345</c:v>
                </c:pt>
                <c:pt idx="7">
                  <c:v>251110</c:v>
                </c:pt>
                <c:pt idx="8">
                  <c:v>259515</c:v>
                </c:pt>
                <c:pt idx="9">
                  <c:v>205060</c:v>
                </c:pt>
                <c:pt idx="10">
                  <c:v>191945</c:v>
                </c:pt>
                <c:pt idx="11">
                  <c:v>201600</c:v>
                </c:pt>
                <c:pt idx="12">
                  <c:v>176060</c:v>
                </c:pt>
                <c:pt idx="13">
                  <c:v>213540</c:v>
                </c:pt>
                <c:pt idx="14">
                  <c:v>173500</c:v>
                </c:pt>
                <c:pt idx="15">
                  <c:v>212560</c:v>
                </c:pt>
                <c:pt idx="16">
                  <c:v>273145</c:v>
                </c:pt>
                <c:pt idx="17">
                  <c:v>264970</c:v>
                </c:pt>
                <c:pt idx="18">
                  <c:v>247170</c:v>
                </c:pt>
                <c:pt idx="19">
                  <c:v>188080</c:v>
                </c:pt>
                <c:pt idx="20">
                  <c:v>192880</c:v>
                </c:pt>
                <c:pt idx="21">
                  <c:v>20960</c:v>
                </c:pt>
                <c:pt idx="22">
                  <c:v>12760</c:v>
                </c:pt>
                <c:pt idx="23">
                  <c:v>14740</c:v>
                </c:pt>
                <c:pt idx="24">
                  <c:v>9060</c:v>
                </c:pt>
                <c:pt idx="25">
                  <c:v>36440</c:v>
                </c:pt>
                <c:pt idx="26">
                  <c:v>205220</c:v>
                </c:pt>
                <c:pt idx="27">
                  <c:v>200100</c:v>
                </c:pt>
                <c:pt idx="28">
                  <c:v>244425</c:v>
                </c:pt>
                <c:pt idx="29">
                  <c:v>241840</c:v>
                </c:pt>
                <c:pt idx="30">
                  <c:v>252875</c:v>
                </c:pt>
                <c:pt idx="31">
                  <c:v>251115</c:v>
                </c:pt>
                <c:pt idx="32">
                  <c:v>236655</c:v>
                </c:pt>
                <c:pt idx="33">
                  <c:v>199540</c:v>
                </c:pt>
                <c:pt idx="34">
                  <c:v>221300</c:v>
                </c:pt>
                <c:pt idx="35">
                  <c:v>194440</c:v>
                </c:pt>
                <c:pt idx="36">
                  <c:v>203620</c:v>
                </c:pt>
                <c:pt idx="37">
                  <c:v>226370</c:v>
                </c:pt>
                <c:pt idx="38">
                  <c:v>230625</c:v>
                </c:pt>
                <c:pt idx="39">
                  <c:v>245640</c:v>
                </c:pt>
                <c:pt idx="40">
                  <c:v>244195</c:v>
                </c:pt>
                <c:pt idx="41">
                  <c:v>186640</c:v>
                </c:pt>
                <c:pt idx="42">
                  <c:v>180980</c:v>
                </c:pt>
                <c:pt idx="43">
                  <c:v>248520</c:v>
                </c:pt>
                <c:pt idx="44">
                  <c:v>0</c:v>
                </c:pt>
                <c:pt idx="45">
                  <c:v>0</c:v>
                </c:pt>
                <c:pt idx="46">
                  <c:v>320</c:v>
                </c:pt>
                <c:pt idx="47">
                  <c:v>166900</c:v>
                </c:pt>
                <c:pt idx="48">
                  <c:v>205340</c:v>
                </c:pt>
                <c:pt idx="49">
                  <c:v>205760</c:v>
                </c:pt>
                <c:pt idx="50">
                  <c:v>205740</c:v>
                </c:pt>
                <c:pt idx="51">
                  <c:v>780</c:v>
                </c:pt>
                <c:pt idx="52">
                  <c:v>120</c:v>
                </c:pt>
                <c:pt idx="53">
                  <c:v>60</c:v>
                </c:pt>
                <c:pt idx="54">
                  <c:v>125</c:v>
                </c:pt>
                <c:pt idx="55">
                  <c:v>9080</c:v>
                </c:pt>
                <c:pt idx="56">
                  <c:v>229645</c:v>
                </c:pt>
                <c:pt idx="57">
                  <c:v>214320</c:v>
                </c:pt>
                <c:pt idx="58">
                  <c:v>197435</c:v>
                </c:pt>
                <c:pt idx="59">
                  <c:v>222350</c:v>
                </c:pt>
                <c:pt idx="60">
                  <c:v>202860</c:v>
                </c:pt>
                <c:pt idx="61">
                  <c:v>198540</c:v>
                </c:pt>
                <c:pt idx="62">
                  <c:v>216920</c:v>
                </c:pt>
                <c:pt idx="63">
                  <c:v>229880</c:v>
                </c:pt>
                <c:pt idx="64">
                  <c:v>242400</c:v>
                </c:pt>
                <c:pt idx="65">
                  <c:v>164320</c:v>
                </c:pt>
                <c:pt idx="66">
                  <c:v>120800</c:v>
                </c:pt>
                <c:pt idx="67">
                  <c:v>131820</c:v>
                </c:pt>
                <c:pt idx="68">
                  <c:v>157060</c:v>
                </c:pt>
                <c:pt idx="69">
                  <c:v>169650</c:v>
                </c:pt>
                <c:pt idx="70">
                  <c:v>173060</c:v>
                </c:pt>
                <c:pt idx="71">
                  <c:v>137660</c:v>
                </c:pt>
                <c:pt idx="72">
                  <c:v>158280</c:v>
                </c:pt>
                <c:pt idx="73">
                  <c:v>16600</c:v>
                </c:pt>
                <c:pt idx="74">
                  <c:v>3440</c:v>
                </c:pt>
                <c:pt idx="75">
                  <c:v>2560</c:v>
                </c:pt>
                <c:pt idx="76">
                  <c:v>3640</c:v>
                </c:pt>
                <c:pt idx="77">
                  <c:v>14530</c:v>
                </c:pt>
                <c:pt idx="78">
                  <c:v>20560</c:v>
                </c:pt>
                <c:pt idx="79">
                  <c:v>161840</c:v>
                </c:pt>
                <c:pt idx="80">
                  <c:v>180590</c:v>
                </c:pt>
                <c:pt idx="81">
                  <c:v>181740</c:v>
                </c:pt>
                <c:pt idx="82">
                  <c:v>148260</c:v>
                </c:pt>
                <c:pt idx="83">
                  <c:v>168920</c:v>
                </c:pt>
                <c:pt idx="84">
                  <c:v>148060</c:v>
                </c:pt>
                <c:pt idx="85">
                  <c:v>158980</c:v>
                </c:pt>
                <c:pt idx="86">
                  <c:v>180370</c:v>
                </c:pt>
                <c:pt idx="87">
                  <c:v>169620</c:v>
                </c:pt>
                <c:pt idx="88">
                  <c:v>169590</c:v>
                </c:pt>
                <c:pt idx="89">
                  <c:v>164760</c:v>
                </c:pt>
                <c:pt idx="90">
                  <c:v>170300</c:v>
                </c:pt>
                <c:pt idx="91">
                  <c:v>245665</c:v>
                </c:pt>
                <c:pt idx="92">
                  <c:v>185160</c:v>
                </c:pt>
                <c:pt idx="93">
                  <c:v>154620</c:v>
                </c:pt>
                <c:pt idx="94">
                  <c:v>166860</c:v>
                </c:pt>
                <c:pt idx="95">
                  <c:v>0</c:v>
                </c:pt>
                <c:pt idx="96">
                  <c:v>175</c:v>
                </c:pt>
                <c:pt idx="97">
                  <c:v>500</c:v>
                </c:pt>
                <c:pt idx="98">
                  <c:v>20</c:v>
                </c:pt>
                <c:pt idx="99">
                  <c:v>40</c:v>
                </c:pt>
                <c:pt idx="100">
                  <c:v>30580</c:v>
                </c:pt>
                <c:pt idx="101">
                  <c:v>169160</c:v>
                </c:pt>
                <c:pt idx="102">
                  <c:v>163120</c:v>
                </c:pt>
                <c:pt idx="103">
                  <c:v>137480</c:v>
                </c:pt>
                <c:pt idx="104">
                  <c:v>17980</c:v>
                </c:pt>
                <c:pt idx="105">
                  <c:v>0</c:v>
                </c:pt>
                <c:pt idx="106">
                  <c:v>140</c:v>
                </c:pt>
                <c:pt idx="107">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82385</c:v>
                </c:pt>
                <c:pt idx="1">
                  <c:v>37785</c:v>
                </c:pt>
                <c:pt idx="2">
                  <c:v>32565</c:v>
                </c:pt>
                <c:pt idx="3">
                  <c:v>80990</c:v>
                </c:pt>
                <c:pt idx="4">
                  <c:v>1560</c:v>
                </c:pt>
                <c:pt idx="5">
                  <c:v>1260</c:v>
                </c:pt>
                <c:pt idx="6">
                  <c:v>1640</c:v>
                </c:pt>
                <c:pt idx="7">
                  <c:v>1480</c:v>
                </c:pt>
                <c:pt idx="8">
                  <c:v>3120</c:v>
                </c:pt>
                <c:pt idx="9">
                  <c:v>85445</c:v>
                </c:pt>
                <c:pt idx="10">
                  <c:v>131080</c:v>
                </c:pt>
                <c:pt idx="11">
                  <c:v>106425</c:v>
                </c:pt>
                <c:pt idx="12">
                  <c:v>94670</c:v>
                </c:pt>
                <c:pt idx="13">
                  <c:v>81835</c:v>
                </c:pt>
                <c:pt idx="14">
                  <c:v>89265</c:v>
                </c:pt>
                <c:pt idx="15">
                  <c:v>107720</c:v>
                </c:pt>
                <c:pt idx="16">
                  <c:v>2820</c:v>
                </c:pt>
                <c:pt idx="17">
                  <c:v>1280</c:v>
                </c:pt>
                <c:pt idx="18">
                  <c:v>1000</c:v>
                </c:pt>
                <c:pt idx="19">
                  <c:v>78975</c:v>
                </c:pt>
                <c:pt idx="20">
                  <c:v>94165</c:v>
                </c:pt>
                <c:pt idx="21">
                  <c:v>293260</c:v>
                </c:pt>
                <c:pt idx="22">
                  <c:v>374525</c:v>
                </c:pt>
                <c:pt idx="23">
                  <c:v>375095</c:v>
                </c:pt>
                <c:pt idx="24">
                  <c:v>369045</c:v>
                </c:pt>
                <c:pt idx="25">
                  <c:v>337830</c:v>
                </c:pt>
                <c:pt idx="26">
                  <c:v>74925</c:v>
                </c:pt>
                <c:pt idx="27">
                  <c:v>61380</c:v>
                </c:pt>
                <c:pt idx="28">
                  <c:v>5220</c:v>
                </c:pt>
                <c:pt idx="29">
                  <c:v>4800</c:v>
                </c:pt>
                <c:pt idx="30">
                  <c:v>1280</c:v>
                </c:pt>
                <c:pt idx="31">
                  <c:v>2620</c:v>
                </c:pt>
                <c:pt idx="32">
                  <c:v>19740</c:v>
                </c:pt>
                <c:pt idx="33">
                  <c:v>92610</c:v>
                </c:pt>
                <c:pt idx="34">
                  <c:v>70190</c:v>
                </c:pt>
                <c:pt idx="35">
                  <c:v>90505</c:v>
                </c:pt>
                <c:pt idx="36">
                  <c:v>59355</c:v>
                </c:pt>
                <c:pt idx="37">
                  <c:v>16260</c:v>
                </c:pt>
                <c:pt idx="38">
                  <c:v>15180</c:v>
                </c:pt>
                <c:pt idx="39">
                  <c:v>7900</c:v>
                </c:pt>
                <c:pt idx="40">
                  <c:v>5620</c:v>
                </c:pt>
                <c:pt idx="41">
                  <c:v>81380</c:v>
                </c:pt>
                <c:pt idx="42">
                  <c:v>101315</c:v>
                </c:pt>
                <c:pt idx="43">
                  <c:v>82960</c:v>
                </c:pt>
                <c:pt idx="44">
                  <c:v>370715</c:v>
                </c:pt>
                <c:pt idx="45">
                  <c:v>347800</c:v>
                </c:pt>
                <c:pt idx="46">
                  <c:v>306190</c:v>
                </c:pt>
                <c:pt idx="47">
                  <c:v>87065</c:v>
                </c:pt>
                <c:pt idx="48">
                  <c:v>69520</c:v>
                </c:pt>
                <c:pt idx="49">
                  <c:v>65215</c:v>
                </c:pt>
                <c:pt idx="50">
                  <c:v>95400</c:v>
                </c:pt>
                <c:pt idx="51">
                  <c:v>256870</c:v>
                </c:pt>
                <c:pt idx="52">
                  <c:v>362385</c:v>
                </c:pt>
                <c:pt idx="53">
                  <c:v>379230</c:v>
                </c:pt>
                <c:pt idx="54">
                  <c:v>348940</c:v>
                </c:pt>
                <c:pt idx="55">
                  <c:v>300020</c:v>
                </c:pt>
                <c:pt idx="56">
                  <c:v>18880</c:v>
                </c:pt>
                <c:pt idx="57">
                  <c:v>21900</c:v>
                </c:pt>
                <c:pt idx="58">
                  <c:v>18740</c:v>
                </c:pt>
                <c:pt idx="59">
                  <c:v>22940</c:v>
                </c:pt>
                <c:pt idx="60">
                  <c:v>69880</c:v>
                </c:pt>
                <c:pt idx="61">
                  <c:v>90165</c:v>
                </c:pt>
                <c:pt idx="62">
                  <c:v>65135</c:v>
                </c:pt>
                <c:pt idx="63">
                  <c:v>24340</c:v>
                </c:pt>
                <c:pt idx="64">
                  <c:v>10480</c:v>
                </c:pt>
                <c:pt idx="65">
                  <c:v>86355</c:v>
                </c:pt>
                <c:pt idx="66">
                  <c:v>200865</c:v>
                </c:pt>
                <c:pt idx="67">
                  <c:v>188060</c:v>
                </c:pt>
                <c:pt idx="68">
                  <c:v>104420</c:v>
                </c:pt>
                <c:pt idx="69">
                  <c:v>54460</c:v>
                </c:pt>
                <c:pt idx="70">
                  <c:v>37460</c:v>
                </c:pt>
                <c:pt idx="71">
                  <c:v>63420</c:v>
                </c:pt>
                <c:pt idx="72">
                  <c:v>56845</c:v>
                </c:pt>
                <c:pt idx="73">
                  <c:v>213695</c:v>
                </c:pt>
                <c:pt idx="74">
                  <c:v>288120</c:v>
                </c:pt>
                <c:pt idx="75">
                  <c:v>286380</c:v>
                </c:pt>
                <c:pt idx="76">
                  <c:v>280440</c:v>
                </c:pt>
                <c:pt idx="77">
                  <c:v>278160</c:v>
                </c:pt>
                <c:pt idx="78">
                  <c:v>257200</c:v>
                </c:pt>
                <c:pt idx="79">
                  <c:v>26580</c:v>
                </c:pt>
                <c:pt idx="80">
                  <c:v>1260</c:v>
                </c:pt>
                <c:pt idx="81">
                  <c:v>1500</c:v>
                </c:pt>
                <c:pt idx="82">
                  <c:v>53250</c:v>
                </c:pt>
                <c:pt idx="83">
                  <c:v>66225</c:v>
                </c:pt>
                <c:pt idx="84">
                  <c:v>77510</c:v>
                </c:pt>
                <c:pt idx="85">
                  <c:v>63095</c:v>
                </c:pt>
                <c:pt idx="86">
                  <c:v>13520</c:v>
                </c:pt>
                <c:pt idx="87">
                  <c:v>14580</c:v>
                </c:pt>
                <c:pt idx="88">
                  <c:v>13440</c:v>
                </c:pt>
                <c:pt idx="89">
                  <c:v>14500</c:v>
                </c:pt>
                <c:pt idx="90">
                  <c:v>15360</c:v>
                </c:pt>
                <c:pt idx="91">
                  <c:v>1300</c:v>
                </c:pt>
                <c:pt idx="92">
                  <c:v>910</c:v>
                </c:pt>
                <c:pt idx="93">
                  <c:v>53165</c:v>
                </c:pt>
                <c:pt idx="94">
                  <c:v>68325</c:v>
                </c:pt>
                <c:pt idx="95">
                  <c:v>285865</c:v>
                </c:pt>
                <c:pt idx="96">
                  <c:v>313980</c:v>
                </c:pt>
                <c:pt idx="97">
                  <c:v>296770</c:v>
                </c:pt>
                <c:pt idx="98">
                  <c:v>289345</c:v>
                </c:pt>
                <c:pt idx="99">
                  <c:v>266660</c:v>
                </c:pt>
                <c:pt idx="100">
                  <c:v>205270</c:v>
                </c:pt>
                <c:pt idx="101">
                  <c:v>58285</c:v>
                </c:pt>
                <c:pt idx="102">
                  <c:v>84160</c:v>
                </c:pt>
                <c:pt idx="103">
                  <c:v>76150</c:v>
                </c:pt>
                <c:pt idx="104">
                  <c:v>232055</c:v>
                </c:pt>
                <c:pt idx="105">
                  <c:v>404220</c:v>
                </c:pt>
                <c:pt idx="106">
                  <c:v>424980</c:v>
                </c:pt>
                <c:pt idx="107">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415914</c:v>
                </c:pt>
                <c:pt idx="27">
                  <c:v>363464</c:v>
                </c:pt>
                <c:pt idx="28">
                  <c:v>341221</c:v>
                </c:pt>
                <c:pt idx="29">
                  <c:v>380384</c:v>
                </c:pt>
                <c:pt idx="30">
                  <c:v>418126</c:v>
                </c:pt>
                <c:pt idx="31">
                  <c:v>251962</c:v>
                </c:pt>
                <c:pt idx="32">
                  <c:v>35160</c:v>
                </c:pt>
                <c:pt idx="33">
                  <c:v>20498</c:v>
                </c:pt>
                <c:pt idx="34">
                  <c:v>17883</c:v>
                </c:pt>
                <c:pt idx="35">
                  <c:v>18859</c:v>
                </c:pt>
                <c:pt idx="36">
                  <c:v>16659</c:v>
                </c:pt>
                <c:pt idx="37">
                  <c:v>19135</c:v>
                </c:pt>
                <c:pt idx="38">
                  <c:v>25785</c:v>
                </c:pt>
                <c:pt idx="39">
                  <c:v>30853</c:v>
                </c:pt>
                <c:pt idx="40">
                  <c:v>34539</c:v>
                </c:pt>
                <c:pt idx="41">
                  <c:v>36233</c:v>
                </c:pt>
                <c:pt idx="42">
                  <c:v>38811</c:v>
                </c:pt>
                <c:pt idx="43">
                  <c:v>422506</c:v>
                </c:pt>
                <c:pt idx="44">
                  <c:v>410500</c:v>
                </c:pt>
                <c:pt idx="45">
                  <c:v>366254</c:v>
                </c:pt>
                <c:pt idx="46">
                  <c:v>333519</c:v>
                </c:pt>
                <c:pt idx="47">
                  <c:v>367563</c:v>
                </c:pt>
                <c:pt idx="48">
                  <c:v>364252</c:v>
                </c:pt>
                <c:pt idx="49">
                  <c:v>379089</c:v>
                </c:pt>
                <c:pt idx="50">
                  <c:v>413928</c:v>
                </c:pt>
                <c:pt idx="51">
                  <c:v>320297</c:v>
                </c:pt>
                <c:pt idx="52">
                  <c:v>362390</c:v>
                </c:pt>
                <c:pt idx="53">
                  <c:v>309163</c:v>
                </c:pt>
                <c:pt idx="54">
                  <c:v>315193</c:v>
                </c:pt>
                <c:pt idx="55">
                  <c:v>340848</c:v>
                </c:pt>
                <c:pt idx="56">
                  <c:v>355996</c:v>
                </c:pt>
                <c:pt idx="57">
                  <c:v>356356</c:v>
                </c:pt>
                <c:pt idx="58">
                  <c:v>301344</c:v>
                </c:pt>
                <c:pt idx="59">
                  <c:v>279597</c:v>
                </c:pt>
                <c:pt idx="60">
                  <c:v>335054</c:v>
                </c:pt>
                <c:pt idx="61">
                  <c:v>366612</c:v>
                </c:pt>
                <c:pt idx="62">
                  <c:v>344234</c:v>
                </c:pt>
                <c:pt idx="63">
                  <c:v>264455</c:v>
                </c:pt>
                <c:pt idx="64">
                  <c:v>296473</c:v>
                </c:pt>
                <c:pt idx="65">
                  <c:v>294453</c:v>
                </c:pt>
                <c:pt idx="66">
                  <c:v>278701</c:v>
                </c:pt>
                <c:pt idx="67">
                  <c:v>272749</c:v>
                </c:pt>
                <c:pt idx="68">
                  <c:v>280533</c:v>
                </c:pt>
                <c:pt idx="69">
                  <c:v>299020</c:v>
                </c:pt>
                <c:pt idx="70">
                  <c:v>303692</c:v>
                </c:pt>
                <c:pt idx="71">
                  <c:v>277764</c:v>
                </c:pt>
                <c:pt idx="72">
                  <c:v>298157</c:v>
                </c:pt>
                <c:pt idx="73">
                  <c:v>359221</c:v>
                </c:pt>
                <c:pt idx="74">
                  <c:v>391713</c:v>
                </c:pt>
                <c:pt idx="75">
                  <c:v>361260</c:v>
                </c:pt>
                <c:pt idx="76">
                  <c:v>363336</c:v>
                </c:pt>
                <c:pt idx="77">
                  <c:v>361611</c:v>
                </c:pt>
                <c:pt idx="78">
                  <c:v>388894</c:v>
                </c:pt>
                <c:pt idx="79">
                  <c:v>361008</c:v>
                </c:pt>
                <c:pt idx="80">
                  <c:v>356534</c:v>
                </c:pt>
                <c:pt idx="81">
                  <c:v>354525</c:v>
                </c:pt>
                <c:pt idx="82">
                  <c:v>370453</c:v>
                </c:pt>
                <c:pt idx="83">
                  <c:v>365704</c:v>
                </c:pt>
                <c:pt idx="84">
                  <c:v>362277</c:v>
                </c:pt>
                <c:pt idx="85">
                  <c:v>355513</c:v>
                </c:pt>
                <c:pt idx="86">
                  <c:v>357095</c:v>
                </c:pt>
                <c:pt idx="87">
                  <c:v>364420</c:v>
                </c:pt>
                <c:pt idx="88">
                  <c:v>340569</c:v>
                </c:pt>
                <c:pt idx="89">
                  <c:v>339313</c:v>
                </c:pt>
                <c:pt idx="90">
                  <c:v>328194</c:v>
                </c:pt>
                <c:pt idx="91">
                  <c:v>355745</c:v>
                </c:pt>
                <c:pt idx="92">
                  <c:v>272432</c:v>
                </c:pt>
                <c:pt idx="93">
                  <c:v>269867</c:v>
                </c:pt>
                <c:pt idx="94">
                  <c:v>299321</c:v>
                </c:pt>
                <c:pt idx="95">
                  <c:v>345554</c:v>
                </c:pt>
                <c:pt idx="96">
                  <c:v>354622</c:v>
                </c:pt>
                <c:pt idx="97">
                  <c:v>336014</c:v>
                </c:pt>
                <c:pt idx="98">
                  <c:v>330034</c:v>
                </c:pt>
                <c:pt idx="99">
                  <c:v>265530</c:v>
                </c:pt>
                <c:pt idx="100">
                  <c:v>278416</c:v>
                </c:pt>
                <c:pt idx="101">
                  <c:v>323708</c:v>
                </c:pt>
                <c:pt idx="102">
                  <c:v>370460</c:v>
                </c:pt>
                <c:pt idx="103">
                  <c:v>313626</c:v>
                </c:pt>
                <c:pt idx="104">
                  <c:v>336739</c:v>
                </c:pt>
                <c:pt idx="105">
                  <c:v>316330</c:v>
                </c:pt>
                <c:pt idx="106">
                  <c:v>331308</c:v>
                </c:pt>
                <c:pt idx="107">
                  <c:v>29631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777</c:v>
                </c:pt>
                <c:pt idx="27">
                  <c:v>40380</c:v>
                </c:pt>
                <c:pt idx="28">
                  <c:v>77134</c:v>
                </c:pt>
                <c:pt idx="29">
                  <c:v>8950</c:v>
                </c:pt>
                <c:pt idx="30">
                  <c:v>406</c:v>
                </c:pt>
                <c:pt idx="31">
                  <c:v>167672</c:v>
                </c:pt>
                <c:pt idx="32">
                  <c:v>418146</c:v>
                </c:pt>
                <c:pt idx="33">
                  <c:v>423573</c:v>
                </c:pt>
                <c:pt idx="34">
                  <c:v>421880</c:v>
                </c:pt>
                <c:pt idx="35">
                  <c:v>423350</c:v>
                </c:pt>
                <c:pt idx="36">
                  <c:v>407095</c:v>
                </c:pt>
                <c:pt idx="37">
                  <c:v>397584</c:v>
                </c:pt>
                <c:pt idx="38">
                  <c:v>393285</c:v>
                </c:pt>
                <c:pt idx="39">
                  <c:v>414853</c:v>
                </c:pt>
                <c:pt idx="40">
                  <c:v>418524</c:v>
                </c:pt>
                <c:pt idx="41">
                  <c:v>408006</c:v>
                </c:pt>
                <c:pt idx="42">
                  <c:v>387093</c:v>
                </c:pt>
                <c:pt idx="43">
                  <c:v>22028</c:v>
                </c:pt>
                <c:pt idx="44">
                  <c:v>26488</c:v>
                </c:pt>
                <c:pt idx="45">
                  <c:v>34566</c:v>
                </c:pt>
                <c:pt idx="46">
                  <c:v>51502</c:v>
                </c:pt>
                <c:pt idx="47">
                  <c:v>62994</c:v>
                </c:pt>
                <c:pt idx="48">
                  <c:v>112572</c:v>
                </c:pt>
                <c:pt idx="49">
                  <c:v>106864</c:v>
                </c:pt>
                <c:pt idx="50">
                  <c:v>174603</c:v>
                </c:pt>
                <c:pt idx="51">
                  <c:v>317552</c:v>
                </c:pt>
                <c:pt idx="52">
                  <c:v>11348</c:v>
                </c:pt>
                <c:pt idx="53">
                  <c:v>21360</c:v>
                </c:pt>
                <c:pt idx="54">
                  <c:v>9072</c:v>
                </c:pt>
                <c:pt idx="55">
                  <c:v>3816</c:v>
                </c:pt>
                <c:pt idx="56">
                  <c:v>2476</c:v>
                </c:pt>
                <c:pt idx="57">
                  <c:v>2441</c:v>
                </c:pt>
                <c:pt idx="58">
                  <c:v>34978</c:v>
                </c:pt>
                <c:pt idx="59">
                  <c:v>121649</c:v>
                </c:pt>
                <c:pt idx="60">
                  <c:v>42472</c:v>
                </c:pt>
                <c:pt idx="61">
                  <c:v>2259</c:v>
                </c:pt>
                <c:pt idx="62">
                  <c:v>1003</c:v>
                </c:pt>
                <c:pt idx="63">
                  <c:v>119643</c:v>
                </c:pt>
                <c:pt idx="64">
                  <c:v>82290</c:v>
                </c:pt>
                <c:pt idx="65">
                  <c:v>74490</c:v>
                </c:pt>
                <c:pt idx="66">
                  <c:v>80838</c:v>
                </c:pt>
                <c:pt idx="67">
                  <c:v>120242</c:v>
                </c:pt>
                <c:pt idx="68">
                  <c:v>76604</c:v>
                </c:pt>
                <c:pt idx="69">
                  <c:v>77863</c:v>
                </c:pt>
                <c:pt idx="70">
                  <c:v>68320</c:v>
                </c:pt>
                <c:pt idx="71">
                  <c:v>77971</c:v>
                </c:pt>
                <c:pt idx="72">
                  <c:v>94844</c:v>
                </c:pt>
                <c:pt idx="73">
                  <c:v>771</c:v>
                </c:pt>
                <c:pt idx="74">
                  <c:v>960</c:v>
                </c:pt>
                <c:pt idx="75">
                  <c:v>1105</c:v>
                </c:pt>
                <c:pt idx="76">
                  <c:v>1707</c:v>
                </c:pt>
                <c:pt idx="77">
                  <c:v>660</c:v>
                </c:pt>
                <c:pt idx="78">
                  <c:v>1346</c:v>
                </c:pt>
                <c:pt idx="79">
                  <c:v>1180</c:v>
                </c:pt>
                <c:pt idx="80">
                  <c:v>1264</c:v>
                </c:pt>
                <c:pt idx="81">
                  <c:v>1306</c:v>
                </c:pt>
                <c:pt idx="82">
                  <c:v>996</c:v>
                </c:pt>
                <c:pt idx="83">
                  <c:v>1036</c:v>
                </c:pt>
                <c:pt idx="84">
                  <c:v>1683</c:v>
                </c:pt>
                <c:pt idx="85">
                  <c:v>693</c:v>
                </c:pt>
                <c:pt idx="86">
                  <c:v>1364</c:v>
                </c:pt>
                <c:pt idx="87">
                  <c:v>676</c:v>
                </c:pt>
                <c:pt idx="88">
                  <c:v>940</c:v>
                </c:pt>
                <c:pt idx="89">
                  <c:v>760</c:v>
                </c:pt>
                <c:pt idx="90">
                  <c:v>11592</c:v>
                </c:pt>
                <c:pt idx="91">
                  <c:v>39768</c:v>
                </c:pt>
                <c:pt idx="92">
                  <c:v>86535</c:v>
                </c:pt>
                <c:pt idx="93">
                  <c:v>109076</c:v>
                </c:pt>
                <c:pt idx="94">
                  <c:v>70912</c:v>
                </c:pt>
                <c:pt idx="95">
                  <c:v>30284</c:v>
                </c:pt>
                <c:pt idx="96">
                  <c:v>38753</c:v>
                </c:pt>
                <c:pt idx="97">
                  <c:v>47520</c:v>
                </c:pt>
                <c:pt idx="98">
                  <c:v>55336</c:v>
                </c:pt>
                <c:pt idx="99">
                  <c:v>122843</c:v>
                </c:pt>
                <c:pt idx="100">
                  <c:v>190112</c:v>
                </c:pt>
                <c:pt idx="101">
                  <c:v>159134</c:v>
                </c:pt>
                <c:pt idx="102">
                  <c:v>160254</c:v>
                </c:pt>
                <c:pt idx="103">
                  <c:v>334412</c:v>
                </c:pt>
                <c:pt idx="104">
                  <c:v>7227</c:v>
                </c:pt>
                <c:pt idx="105">
                  <c:v>2106</c:v>
                </c:pt>
                <c:pt idx="106">
                  <c:v>682</c:v>
                </c:pt>
                <c:pt idx="107">
                  <c:v>1083</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13518</c:v>
                </c:pt>
                <c:pt idx="1">
                  <c:v>13770</c:v>
                </c:pt>
                <c:pt idx="2">
                  <c:v>13187</c:v>
                </c:pt>
                <c:pt idx="3">
                  <c:v>12524</c:v>
                </c:pt>
                <c:pt idx="4">
                  <c:v>12618</c:v>
                </c:pt>
                <c:pt idx="5">
                  <c:v>13768</c:v>
                </c:pt>
                <c:pt idx="6">
                  <c:v>12938</c:v>
                </c:pt>
                <c:pt idx="7">
                  <c:v>12475</c:v>
                </c:pt>
                <c:pt idx="8">
                  <c:v>14854</c:v>
                </c:pt>
                <c:pt idx="9">
                  <c:v>13401</c:v>
                </c:pt>
                <c:pt idx="10">
                  <c:v>13554</c:v>
                </c:pt>
                <c:pt idx="11">
                  <c:v>14162</c:v>
                </c:pt>
                <c:pt idx="12">
                  <c:v>14373</c:v>
                </c:pt>
                <c:pt idx="13">
                  <c:v>16015</c:v>
                </c:pt>
                <c:pt idx="14">
                  <c:v>12880</c:v>
                </c:pt>
                <c:pt idx="15">
                  <c:v>12913</c:v>
                </c:pt>
                <c:pt idx="16">
                  <c:v>13782</c:v>
                </c:pt>
                <c:pt idx="17">
                  <c:v>16074</c:v>
                </c:pt>
                <c:pt idx="18">
                  <c:v>15074</c:v>
                </c:pt>
                <c:pt idx="19">
                  <c:v>14838</c:v>
                </c:pt>
                <c:pt idx="20">
                  <c:v>16629</c:v>
                </c:pt>
                <c:pt idx="21">
                  <c:v>16188</c:v>
                </c:pt>
                <c:pt idx="22">
                  <c:v>15997</c:v>
                </c:pt>
                <c:pt idx="23">
                  <c:v>15611</c:v>
                </c:pt>
                <c:pt idx="24">
                  <c:v>16059</c:v>
                </c:pt>
                <c:pt idx="25">
                  <c:v>15634</c:v>
                </c:pt>
                <c:pt idx="26">
                  <c:v>16535</c:v>
                </c:pt>
                <c:pt idx="27">
                  <c:v>14749</c:v>
                </c:pt>
                <c:pt idx="28">
                  <c:v>13912</c:v>
                </c:pt>
                <c:pt idx="29">
                  <c:v>15040</c:v>
                </c:pt>
                <c:pt idx="30">
                  <c:v>15545</c:v>
                </c:pt>
                <c:pt idx="31">
                  <c:v>14418</c:v>
                </c:pt>
                <c:pt idx="32">
                  <c:v>15122</c:v>
                </c:pt>
                <c:pt idx="33">
                  <c:v>15406</c:v>
                </c:pt>
                <c:pt idx="34">
                  <c:v>17661</c:v>
                </c:pt>
                <c:pt idx="35">
                  <c:v>18756</c:v>
                </c:pt>
                <c:pt idx="36">
                  <c:v>16492</c:v>
                </c:pt>
                <c:pt idx="37">
                  <c:v>15700</c:v>
                </c:pt>
                <c:pt idx="38">
                  <c:v>14408</c:v>
                </c:pt>
                <c:pt idx="39">
                  <c:v>14359</c:v>
                </c:pt>
                <c:pt idx="40">
                  <c:v>12408</c:v>
                </c:pt>
                <c:pt idx="41">
                  <c:v>13562</c:v>
                </c:pt>
                <c:pt idx="42">
                  <c:v>12860</c:v>
                </c:pt>
                <c:pt idx="43">
                  <c:v>12822</c:v>
                </c:pt>
                <c:pt idx="44">
                  <c:v>14636</c:v>
                </c:pt>
                <c:pt idx="45">
                  <c:v>13674</c:v>
                </c:pt>
                <c:pt idx="46">
                  <c:v>13065</c:v>
                </c:pt>
                <c:pt idx="47">
                  <c:v>13914</c:v>
                </c:pt>
                <c:pt idx="48">
                  <c:v>14444</c:v>
                </c:pt>
                <c:pt idx="49">
                  <c:v>10802</c:v>
                </c:pt>
                <c:pt idx="50">
                  <c:v>10867</c:v>
                </c:pt>
                <c:pt idx="51">
                  <c:v>6831</c:v>
                </c:pt>
                <c:pt idx="52">
                  <c:v>8839</c:v>
                </c:pt>
                <c:pt idx="53">
                  <c:v>11710</c:v>
                </c:pt>
                <c:pt idx="54">
                  <c:v>19856</c:v>
                </c:pt>
                <c:pt idx="55">
                  <c:v>23059</c:v>
                </c:pt>
                <c:pt idx="56">
                  <c:v>24499</c:v>
                </c:pt>
                <c:pt idx="57">
                  <c:v>26927</c:v>
                </c:pt>
                <c:pt idx="58">
                  <c:v>23142</c:v>
                </c:pt>
                <c:pt idx="59">
                  <c:v>22736</c:v>
                </c:pt>
                <c:pt idx="60">
                  <c:v>23818</c:v>
                </c:pt>
                <c:pt idx="61">
                  <c:v>22815</c:v>
                </c:pt>
                <c:pt idx="62">
                  <c:v>20993</c:v>
                </c:pt>
                <c:pt idx="63">
                  <c:v>19736</c:v>
                </c:pt>
                <c:pt idx="64">
                  <c:v>22316</c:v>
                </c:pt>
                <c:pt idx="65">
                  <c:v>21989</c:v>
                </c:pt>
                <c:pt idx="66">
                  <c:v>19687</c:v>
                </c:pt>
                <c:pt idx="67">
                  <c:v>20130</c:v>
                </c:pt>
                <c:pt idx="68">
                  <c:v>20032</c:v>
                </c:pt>
                <c:pt idx="69">
                  <c:v>21480</c:v>
                </c:pt>
                <c:pt idx="70">
                  <c:v>20536</c:v>
                </c:pt>
                <c:pt idx="71">
                  <c:v>19836</c:v>
                </c:pt>
                <c:pt idx="72">
                  <c:v>23937</c:v>
                </c:pt>
                <c:pt idx="73">
                  <c:v>26963</c:v>
                </c:pt>
                <c:pt idx="74">
                  <c:v>29029</c:v>
                </c:pt>
                <c:pt idx="75">
                  <c:v>28022</c:v>
                </c:pt>
                <c:pt idx="76">
                  <c:v>28815</c:v>
                </c:pt>
                <c:pt idx="77">
                  <c:v>28522</c:v>
                </c:pt>
                <c:pt idx="78">
                  <c:v>30126</c:v>
                </c:pt>
                <c:pt idx="79">
                  <c:v>25552</c:v>
                </c:pt>
                <c:pt idx="80">
                  <c:v>23405</c:v>
                </c:pt>
                <c:pt idx="81">
                  <c:v>22457</c:v>
                </c:pt>
                <c:pt idx="82">
                  <c:v>22287</c:v>
                </c:pt>
                <c:pt idx="83">
                  <c:v>25998</c:v>
                </c:pt>
                <c:pt idx="84">
                  <c:v>26178</c:v>
                </c:pt>
                <c:pt idx="85">
                  <c:v>26424</c:v>
                </c:pt>
                <c:pt idx="86">
                  <c:v>25270</c:v>
                </c:pt>
                <c:pt idx="87">
                  <c:v>25833</c:v>
                </c:pt>
                <c:pt idx="88">
                  <c:v>24113</c:v>
                </c:pt>
                <c:pt idx="89">
                  <c:v>24662</c:v>
                </c:pt>
                <c:pt idx="90">
                  <c:v>21725</c:v>
                </c:pt>
                <c:pt idx="91">
                  <c:v>22807</c:v>
                </c:pt>
                <c:pt idx="92">
                  <c:v>19488</c:v>
                </c:pt>
                <c:pt idx="93">
                  <c:v>18353</c:v>
                </c:pt>
                <c:pt idx="94">
                  <c:v>20147</c:v>
                </c:pt>
                <c:pt idx="95">
                  <c:v>22422</c:v>
                </c:pt>
                <c:pt idx="96">
                  <c:v>23180</c:v>
                </c:pt>
                <c:pt idx="97">
                  <c:v>21596</c:v>
                </c:pt>
                <c:pt idx="98">
                  <c:v>21277</c:v>
                </c:pt>
                <c:pt idx="99">
                  <c:v>20811</c:v>
                </c:pt>
                <c:pt idx="100">
                  <c:v>22963</c:v>
                </c:pt>
                <c:pt idx="101">
                  <c:v>22045</c:v>
                </c:pt>
                <c:pt idx="102">
                  <c:v>24420</c:v>
                </c:pt>
                <c:pt idx="103">
                  <c:v>24889</c:v>
                </c:pt>
                <c:pt idx="104">
                  <c:v>20159</c:v>
                </c:pt>
                <c:pt idx="105">
                  <c:v>18974</c:v>
                </c:pt>
                <c:pt idx="106">
                  <c:v>20654</c:v>
                </c:pt>
                <c:pt idx="107">
                  <c:v>18733</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23948</c:v>
                </c:pt>
                <c:pt idx="1">
                  <c:v>10792</c:v>
                </c:pt>
                <c:pt idx="2">
                  <c:v>10092</c:v>
                </c:pt>
                <c:pt idx="3">
                  <c:v>6823</c:v>
                </c:pt>
                <c:pt idx="4">
                  <c:v>4430</c:v>
                </c:pt>
                <c:pt idx="5">
                  <c:v>3676</c:v>
                </c:pt>
                <c:pt idx="6">
                  <c:v>3566</c:v>
                </c:pt>
                <c:pt idx="7">
                  <c:v>7690</c:v>
                </c:pt>
                <c:pt idx="8">
                  <c:v>3042</c:v>
                </c:pt>
                <c:pt idx="9">
                  <c:v>3114</c:v>
                </c:pt>
                <c:pt idx="10">
                  <c:v>6582</c:v>
                </c:pt>
                <c:pt idx="11">
                  <c:v>4008</c:v>
                </c:pt>
                <c:pt idx="12">
                  <c:v>2248</c:v>
                </c:pt>
                <c:pt idx="13">
                  <c:v>2128</c:v>
                </c:pt>
                <c:pt idx="14">
                  <c:v>3146</c:v>
                </c:pt>
                <c:pt idx="15">
                  <c:v>7800</c:v>
                </c:pt>
                <c:pt idx="16">
                  <c:v>3170</c:v>
                </c:pt>
                <c:pt idx="17">
                  <c:v>634</c:v>
                </c:pt>
                <c:pt idx="18">
                  <c:v>914</c:v>
                </c:pt>
                <c:pt idx="19">
                  <c:v>794</c:v>
                </c:pt>
                <c:pt idx="20">
                  <c:v>1802</c:v>
                </c:pt>
                <c:pt idx="21">
                  <c:v>244</c:v>
                </c:pt>
                <c:pt idx="22">
                  <c:v>78</c:v>
                </c:pt>
                <c:pt idx="23">
                  <c:v>192</c:v>
                </c:pt>
                <c:pt idx="24">
                  <c:v>66</c:v>
                </c:pt>
                <c:pt idx="25">
                  <c:v>156</c:v>
                </c:pt>
                <c:pt idx="26">
                  <c:v>138</c:v>
                </c:pt>
                <c:pt idx="27">
                  <c:v>1500</c:v>
                </c:pt>
                <c:pt idx="28">
                  <c:v>5162</c:v>
                </c:pt>
                <c:pt idx="29">
                  <c:v>2728</c:v>
                </c:pt>
                <c:pt idx="30">
                  <c:v>2124</c:v>
                </c:pt>
                <c:pt idx="31">
                  <c:v>1920</c:v>
                </c:pt>
                <c:pt idx="32">
                  <c:v>1896</c:v>
                </c:pt>
                <c:pt idx="33">
                  <c:v>1758</c:v>
                </c:pt>
                <c:pt idx="34">
                  <c:v>1512</c:v>
                </c:pt>
                <c:pt idx="35">
                  <c:v>422</c:v>
                </c:pt>
                <c:pt idx="36">
                  <c:v>216</c:v>
                </c:pt>
                <c:pt idx="37">
                  <c:v>110</c:v>
                </c:pt>
                <c:pt idx="38">
                  <c:v>732</c:v>
                </c:pt>
                <c:pt idx="39">
                  <c:v>1514</c:v>
                </c:pt>
                <c:pt idx="40">
                  <c:v>9464</c:v>
                </c:pt>
                <c:pt idx="41">
                  <c:v>10943</c:v>
                </c:pt>
                <c:pt idx="42">
                  <c:v>11873</c:v>
                </c:pt>
                <c:pt idx="43">
                  <c:v>13733</c:v>
                </c:pt>
                <c:pt idx="44">
                  <c:v>14194</c:v>
                </c:pt>
                <c:pt idx="45">
                  <c:v>16678</c:v>
                </c:pt>
                <c:pt idx="46">
                  <c:v>26659</c:v>
                </c:pt>
                <c:pt idx="47">
                  <c:v>26457</c:v>
                </c:pt>
                <c:pt idx="48">
                  <c:v>34149</c:v>
                </c:pt>
                <c:pt idx="49">
                  <c:v>54478</c:v>
                </c:pt>
                <c:pt idx="50">
                  <c:v>91195</c:v>
                </c:pt>
                <c:pt idx="51">
                  <c:v>141008</c:v>
                </c:pt>
                <c:pt idx="52">
                  <c:v>5142</c:v>
                </c:pt>
                <c:pt idx="53">
                  <c:v>5587</c:v>
                </c:pt>
                <c:pt idx="54">
                  <c:v>2614</c:v>
                </c:pt>
                <c:pt idx="55">
                  <c:v>1455</c:v>
                </c:pt>
                <c:pt idx="56">
                  <c:v>725</c:v>
                </c:pt>
                <c:pt idx="57">
                  <c:v>702</c:v>
                </c:pt>
                <c:pt idx="58">
                  <c:v>3966</c:v>
                </c:pt>
                <c:pt idx="59">
                  <c:v>11541</c:v>
                </c:pt>
                <c:pt idx="60">
                  <c:v>7003</c:v>
                </c:pt>
                <c:pt idx="61">
                  <c:v>6231</c:v>
                </c:pt>
                <c:pt idx="62">
                  <c:v>6604</c:v>
                </c:pt>
                <c:pt idx="63">
                  <c:v>12253</c:v>
                </c:pt>
                <c:pt idx="64">
                  <c:v>6359</c:v>
                </c:pt>
                <c:pt idx="65">
                  <c:v>6038</c:v>
                </c:pt>
                <c:pt idx="66">
                  <c:v>6659</c:v>
                </c:pt>
                <c:pt idx="67">
                  <c:v>11896</c:v>
                </c:pt>
                <c:pt idx="68">
                  <c:v>6213</c:v>
                </c:pt>
                <c:pt idx="69">
                  <c:v>5746</c:v>
                </c:pt>
                <c:pt idx="70">
                  <c:v>5370</c:v>
                </c:pt>
                <c:pt idx="71">
                  <c:v>6305</c:v>
                </c:pt>
                <c:pt idx="72">
                  <c:v>6948</c:v>
                </c:pt>
                <c:pt idx="73">
                  <c:v>41</c:v>
                </c:pt>
                <c:pt idx="74">
                  <c:v>266</c:v>
                </c:pt>
                <c:pt idx="75">
                  <c:v>71</c:v>
                </c:pt>
                <c:pt idx="76">
                  <c:v>99</c:v>
                </c:pt>
                <c:pt idx="77">
                  <c:v>56</c:v>
                </c:pt>
                <c:pt idx="78">
                  <c:v>360</c:v>
                </c:pt>
                <c:pt idx="79">
                  <c:v>2886</c:v>
                </c:pt>
                <c:pt idx="80">
                  <c:v>6201</c:v>
                </c:pt>
                <c:pt idx="81">
                  <c:v>6005</c:v>
                </c:pt>
                <c:pt idx="82">
                  <c:v>5918</c:v>
                </c:pt>
                <c:pt idx="83">
                  <c:v>1399</c:v>
                </c:pt>
                <c:pt idx="84">
                  <c:v>1122</c:v>
                </c:pt>
                <c:pt idx="85">
                  <c:v>242</c:v>
                </c:pt>
                <c:pt idx="86">
                  <c:v>792</c:v>
                </c:pt>
                <c:pt idx="87">
                  <c:v>249</c:v>
                </c:pt>
                <c:pt idx="88">
                  <c:v>257</c:v>
                </c:pt>
                <c:pt idx="89">
                  <c:v>261</c:v>
                </c:pt>
                <c:pt idx="90">
                  <c:v>1199</c:v>
                </c:pt>
                <c:pt idx="91">
                  <c:v>2960</c:v>
                </c:pt>
                <c:pt idx="92">
                  <c:v>6665</c:v>
                </c:pt>
                <c:pt idx="93">
                  <c:v>12478</c:v>
                </c:pt>
                <c:pt idx="94">
                  <c:v>11648</c:v>
                </c:pt>
                <c:pt idx="95">
                  <c:v>10494</c:v>
                </c:pt>
                <c:pt idx="96">
                  <c:v>13311</c:v>
                </c:pt>
                <c:pt idx="97">
                  <c:v>16093</c:v>
                </c:pt>
                <c:pt idx="98">
                  <c:v>19979</c:v>
                </c:pt>
                <c:pt idx="99">
                  <c:v>32195</c:v>
                </c:pt>
                <c:pt idx="100">
                  <c:v>35366</c:v>
                </c:pt>
                <c:pt idx="101">
                  <c:v>49136</c:v>
                </c:pt>
                <c:pt idx="102">
                  <c:v>76956</c:v>
                </c:pt>
                <c:pt idx="103">
                  <c:v>200721</c:v>
                </c:pt>
                <c:pt idx="104">
                  <c:v>6521</c:v>
                </c:pt>
                <c:pt idx="105">
                  <c:v>1504</c:v>
                </c:pt>
                <c:pt idx="106">
                  <c:v>778</c:v>
                </c:pt>
                <c:pt idx="107">
                  <c:v>41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B$2:$B$109</c:f>
              <c:numCache>
                <c:formatCode>General</c:formatCode>
                <c:ptCount val="108"/>
                <c:pt idx="0">
                  <c:v>70952</c:v>
                </c:pt>
                <c:pt idx="1">
                  <c:v>74944</c:v>
                </c:pt>
                <c:pt idx="2">
                  <c:v>76800</c:v>
                </c:pt>
                <c:pt idx="3">
                  <c:v>75533</c:v>
                </c:pt>
                <c:pt idx="4">
                  <c:v>79108</c:v>
                </c:pt>
                <c:pt idx="5">
                  <c:v>73192</c:v>
                </c:pt>
                <c:pt idx="6">
                  <c:v>67752</c:v>
                </c:pt>
                <c:pt idx="7">
                  <c:v>69044</c:v>
                </c:pt>
                <c:pt idx="8">
                  <c:v>74020</c:v>
                </c:pt>
                <c:pt idx="9">
                  <c:v>68652</c:v>
                </c:pt>
                <c:pt idx="10">
                  <c:v>68348</c:v>
                </c:pt>
                <c:pt idx="11">
                  <c:v>68692</c:v>
                </c:pt>
                <c:pt idx="12">
                  <c:v>66058</c:v>
                </c:pt>
                <c:pt idx="13">
                  <c:v>73012</c:v>
                </c:pt>
                <c:pt idx="14">
                  <c:v>64088</c:v>
                </c:pt>
                <c:pt idx="15">
                  <c:v>66136</c:v>
                </c:pt>
                <c:pt idx="16">
                  <c:v>65744</c:v>
                </c:pt>
                <c:pt idx="17">
                  <c:v>74994</c:v>
                </c:pt>
                <c:pt idx="18">
                  <c:v>71112</c:v>
                </c:pt>
                <c:pt idx="19">
                  <c:v>69476</c:v>
                </c:pt>
                <c:pt idx="20">
                  <c:v>75600</c:v>
                </c:pt>
                <c:pt idx="21">
                  <c:v>78572</c:v>
                </c:pt>
                <c:pt idx="22">
                  <c:v>78108</c:v>
                </c:pt>
                <c:pt idx="23">
                  <c:v>75656</c:v>
                </c:pt>
                <c:pt idx="24">
                  <c:v>74253</c:v>
                </c:pt>
                <c:pt idx="25">
                  <c:v>76102</c:v>
                </c:pt>
                <c:pt idx="26">
                  <c:v>78656</c:v>
                </c:pt>
                <c:pt idx="27">
                  <c:v>71284</c:v>
                </c:pt>
                <c:pt idx="28">
                  <c:v>69678</c:v>
                </c:pt>
                <c:pt idx="29">
                  <c:v>67276</c:v>
                </c:pt>
                <c:pt idx="30">
                  <c:v>72632</c:v>
                </c:pt>
                <c:pt idx="31">
                  <c:v>68788</c:v>
                </c:pt>
                <c:pt idx="32">
                  <c:v>69432</c:v>
                </c:pt>
                <c:pt idx="33">
                  <c:v>65708</c:v>
                </c:pt>
                <c:pt idx="34">
                  <c:v>65246</c:v>
                </c:pt>
                <c:pt idx="35">
                  <c:v>69960</c:v>
                </c:pt>
                <c:pt idx="36">
                  <c:v>71288</c:v>
                </c:pt>
                <c:pt idx="37">
                  <c:v>69872</c:v>
                </c:pt>
                <c:pt idx="38">
                  <c:v>66880</c:v>
                </c:pt>
                <c:pt idx="39">
                  <c:v>67056</c:v>
                </c:pt>
                <c:pt idx="40">
                  <c:v>57280</c:v>
                </c:pt>
                <c:pt idx="41">
                  <c:v>56612</c:v>
                </c:pt>
                <c:pt idx="42">
                  <c:v>57004</c:v>
                </c:pt>
                <c:pt idx="43">
                  <c:v>61560</c:v>
                </c:pt>
                <c:pt idx="44">
                  <c:v>68164</c:v>
                </c:pt>
                <c:pt idx="45">
                  <c:v>68596</c:v>
                </c:pt>
                <c:pt idx="46">
                  <c:v>63956</c:v>
                </c:pt>
                <c:pt idx="47">
                  <c:v>66326</c:v>
                </c:pt>
                <c:pt idx="48">
                  <c:v>69996</c:v>
                </c:pt>
                <c:pt idx="49">
                  <c:v>68688</c:v>
                </c:pt>
                <c:pt idx="50">
                  <c:v>73080</c:v>
                </c:pt>
                <c:pt idx="51">
                  <c:v>51686</c:v>
                </c:pt>
                <c:pt idx="52">
                  <c:v>61077</c:v>
                </c:pt>
                <c:pt idx="53">
                  <c:v>61244</c:v>
                </c:pt>
                <c:pt idx="54">
                  <c:v>67110</c:v>
                </c:pt>
                <c:pt idx="55">
                  <c:v>73532</c:v>
                </c:pt>
                <c:pt idx="56">
                  <c:v>64790</c:v>
                </c:pt>
                <c:pt idx="57">
                  <c:v>52337</c:v>
                </c:pt>
                <c:pt idx="58">
                  <c:v>45317</c:v>
                </c:pt>
                <c:pt idx="59">
                  <c:v>42597</c:v>
                </c:pt>
                <c:pt idx="60">
                  <c:v>41163</c:v>
                </c:pt>
                <c:pt idx="61">
                  <c:v>41867</c:v>
                </c:pt>
                <c:pt idx="62">
                  <c:v>48164</c:v>
                </c:pt>
                <c:pt idx="63">
                  <c:v>59661</c:v>
                </c:pt>
                <c:pt idx="64">
                  <c:v>59362</c:v>
                </c:pt>
                <c:pt idx="65">
                  <c:v>60412</c:v>
                </c:pt>
                <c:pt idx="66">
                  <c:v>59039</c:v>
                </c:pt>
                <c:pt idx="67">
                  <c:v>57405</c:v>
                </c:pt>
                <c:pt idx="68">
                  <c:v>57681</c:v>
                </c:pt>
                <c:pt idx="69">
                  <c:v>60189</c:v>
                </c:pt>
                <c:pt idx="70">
                  <c:v>59376</c:v>
                </c:pt>
                <c:pt idx="71">
                  <c:v>56686</c:v>
                </c:pt>
                <c:pt idx="72">
                  <c:v>67369</c:v>
                </c:pt>
                <c:pt idx="73">
                  <c:v>71312</c:v>
                </c:pt>
                <c:pt idx="74">
                  <c:v>75749</c:v>
                </c:pt>
                <c:pt idx="75">
                  <c:v>72187</c:v>
                </c:pt>
                <c:pt idx="76">
                  <c:v>70428</c:v>
                </c:pt>
                <c:pt idx="77">
                  <c:v>70854</c:v>
                </c:pt>
                <c:pt idx="78">
                  <c:v>78307</c:v>
                </c:pt>
                <c:pt idx="79">
                  <c:v>63764</c:v>
                </c:pt>
                <c:pt idx="80">
                  <c:v>60201</c:v>
                </c:pt>
                <c:pt idx="81">
                  <c:v>57002</c:v>
                </c:pt>
                <c:pt idx="82">
                  <c:v>61604</c:v>
                </c:pt>
                <c:pt idx="83">
                  <c:v>69678</c:v>
                </c:pt>
                <c:pt idx="84">
                  <c:v>68878</c:v>
                </c:pt>
                <c:pt idx="85">
                  <c:v>71529</c:v>
                </c:pt>
                <c:pt idx="86">
                  <c:v>68625</c:v>
                </c:pt>
                <c:pt idx="87">
                  <c:v>72610</c:v>
                </c:pt>
                <c:pt idx="88">
                  <c:v>67703</c:v>
                </c:pt>
                <c:pt idx="89">
                  <c:v>68266</c:v>
                </c:pt>
                <c:pt idx="90">
                  <c:v>63450</c:v>
                </c:pt>
                <c:pt idx="91">
                  <c:v>70285</c:v>
                </c:pt>
                <c:pt idx="92">
                  <c:v>56060</c:v>
                </c:pt>
                <c:pt idx="93">
                  <c:v>54380</c:v>
                </c:pt>
                <c:pt idx="94">
                  <c:v>61014</c:v>
                </c:pt>
                <c:pt idx="95">
                  <c:v>68517</c:v>
                </c:pt>
                <c:pt idx="96">
                  <c:v>72869</c:v>
                </c:pt>
                <c:pt idx="97">
                  <c:v>50626</c:v>
                </c:pt>
                <c:pt idx="98">
                  <c:v>1844</c:v>
                </c:pt>
                <c:pt idx="99">
                  <c:v>1312</c:v>
                </c:pt>
                <c:pt idx="100">
                  <c:v>1609</c:v>
                </c:pt>
                <c:pt idx="101">
                  <c:v>978</c:v>
                </c:pt>
                <c:pt idx="102">
                  <c:v>645</c:v>
                </c:pt>
                <c:pt idx="103">
                  <c:v>698</c:v>
                </c:pt>
                <c:pt idx="104">
                  <c:v>1083</c:v>
                </c:pt>
                <c:pt idx="105">
                  <c:v>2025</c:v>
                </c:pt>
                <c:pt idx="106">
                  <c:v>3294</c:v>
                </c:pt>
                <c:pt idx="107">
                  <c:v>428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9</c:f>
              <c:numCache>
                <c:formatCode>yyyy\-mm\-dd</c:formatCode>
                <c:ptCount val="10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37</c:v>
                </c:pt>
                <c:pt idx="30">
                  <c:v>45144</c:v>
                </c:pt>
                <c:pt idx="31">
                  <c:v>45151</c:v>
                </c:pt>
                <c:pt idx="32">
                  <c:v>45158</c:v>
                </c:pt>
                <c:pt idx="33">
                  <c:v>45165</c:v>
                </c:pt>
                <c:pt idx="34">
                  <c:v>45172</c:v>
                </c:pt>
                <c:pt idx="35">
                  <c:v>45179</c:v>
                </c:pt>
                <c:pt idx="36">
                  <c:v>45186</c:v>
                </c:pt>
                <c:pt idx="37">
                  <c:v>45193</c:v>
                </c:pt>
                <c:pt idx="38">
                  <c:v>45200</c:v>
                </c:pt>
                <c:pt idx="39">
                  <c:v>45207</c:v>
                </c:pt>
                <c:pt idx="40">
                  <c:v>45214</c:v>
                </c:pt>
                <c:pt idx="41">
                  <c:v>45221</c:v>
                </c:pt>
                <c:pt idx="42">
                  <c:v>45228</c:v>
                </c:pt>
                <c:pt idx="43">
                  <c:v>45235</c:v>
                </c:pt>
                <c:pt idx="44">
                  <c:v>45242</c:v>
                </c:pt>
                <c:pt idx="45">
                  <c:v>45249</c:v>
                </c:pt>
                <c:pt idx="46">
                  <c:v>45256</c:v>
                </c:pt>
                <c:pt idx="47">
                  <c:v>45263</c:v>
                </c:pt>
                <c:pt idx="48">
                  <c:v>45270</c:v>
                </c:pt>
                <c:pt idx="49">
                  <c:v>45277</c:v>
                </c:pt>
                <c:pt idx="50">
                  <c:v>45284</c:v>
                </c:pt>
                <c:pt idx="51">
                  <c:v>45291</c:v>
                </c:pt>
                <c:pt idx="52">
                  <c:v>45298</c:v>
                </c:pt>
                <c:pt idx="53">
                  <c:v>45305</c:v>
                </c:pt>
                <c:pt idx="54">
                  <c:v>45312</c:v>
                </c:pt>
                <c:pt idx="55">
                  <c:v>45319</c:v>
                </c:pt>
                <c:pt idx="56">
                  <c:v>45326</c:v>
                </c:pt>
                <c:pt idx="57">
                  <c:v>45333</c:v>
                </c:pt>
                <c:pt idx="58">
                  <c:v>45340</c:v>
                </c:pt>
                <c:pt idx="59">
                  <c:v>45347</c:v>
                </c:pt>
                <c:pt idx="60">
                  <c:v>45354</c:v>
                </c:pt>
                <c:pt idx="61">
                  <c:v>45361</c:v>
                </c:pt>
                <c:pt idx="62">
                  <c:v>45368</c:v>
                </c:pt>
                <c:pt idx="63">
                  <c:v>45375</c:v>
                </c:pt>
                <c:pt idx="64">
                  <c:v>45382</c:v>
                </c:pt>
                <c:pt idx="65">
                  <c:v>45389</c:v>
                </c:pt>
                <c:pt idx="66">
                  <c:v>45396</c:v>
                </c:pt>
                <c:pt idx="67">
                  <c:v>45403</c:v>
                </c:pt>
                <c:pt idx="68">
                  <c:v>45410</c:v>
                </c:pt>
                <c:pt idx="69">
                  <c:v>45417</c:v>
                </c:pt>
                <c:pt idx="70">
                  <c:v>45424</c:v>
                </c:pt>
                <c:pt idx="71">
                  <c:v>45431</c:v>
                </c:pt>
                <c:pt idx="72">
                  <c:v>45438</c:v>
                </c:pt>
                <c:pt idx="73">
                  <c:v>45445</c:v>
                </c:pt>
                <c:pt idx="74">
                  <c:v>45452</c:v>
                </c:pt>
                <c:pt idx="75">
                  <c:v>45459</c:v>
                </c:pt>
                <c:pt idx="76">
                  <c:v>45466</c:v>
                </c:pt>
                <c:pt idx="77">
                  <c:v>45473</c:v>
                </c:pt>
                <c:pt idx="78">
                  <c:v>45480</c:v>
                </c:pt>
                <c:pt idx="79">
                  <c:v>45487</c:v>
                </c:pt>
                <c:pt idx="80">
                  <c:v>45494</c:v>
                </c:pt>
                <c:pt idx="81">
                  <c:v>45501</c:v>
                </c:pt>
                <c:pt idx="82">
                  <c:v>45508</c:v>
                </c:pt>
                <c:pt idx="83">
                  <c:v>45515</c:v>
                </c:pt>
                <c:pt idx="84">
                  <c:v>45522</c:v>
                </c:pt>
                <c:pt idx="85">
                  <c:v>45529</c:v>
                </c:pt>
                <c:pt idx="86">
                  <c:v>45536</c:v>
                </c:pt>
                <c:pt idx="87">
                  <c:v>45543</c:v>
                </c:pt>
                <c:pt idx="88">
                  <c:v>45550</c:v>
                </c:pt>
                <c:pt idx="89">
                  <c:v>45557</c:v>
                </c:pt>
                <c:pt idx="90">
                  <c:v>45564</c:v>
                </c:pt>
                <c:pt idx="91">
                  <c:v>45571</c:v>
                </c:pt>
                <c:pt idx="92">
                  <c:v>45578</c:v>
                </c:pt>
                <c:pt idx="93">
                  <c:v>45585</c:v>
                </c:pt>
                <c:pt idx="94">
                  <c:v>45592</c:v>
                </c:pt>
                <c:pt idx="95">
                  <c:v>45599</c:v>
                </c:pt>
                <c:pt idx="96">
                  <c:v>45606</c:v>
                </c:pt>
                <c:pt idx="97">
                  <c:v>45613</c:v>
                </c:pt>
                <c:pt idx="98">
                  <c:v>45620</c:v>
                </c:pt>
                <c:pt idx="99">
                  <c:v>45627</c:v>
                </c:pt>
                <c:pt idx="100">
                  <c:v>45634</c:v>
                </c:pt>
                <c:pt idx="101">
                  <c:v>45641</c:v>
                </c:pt>
                <c:pt idx="102">
                  <c:v>45648</c:v>
                </c:pt>
                <c:pt idx="103">
                  <c:v>45655</c:v>
                </c:pt>
                <c:pt idx="104">
                  <c:v>45662</c:v>
                </c:pt>
                <c:pt idx="105">
                  <c:v>45669</c:v>
                </c:pt>
                <c:pt idx="106">
                  <c:v>45676</c:v>
                </c:pt>
                <c:pt idx="107">
                  <c:v>45683</c:v>
                </c:pt>
              </c:numCache>
            </c:numRef>
          </c:cat>
          <c:val>
            <c:numRef>
              <c:f>Sheet1!$C$2:$C$109</c:f>
              <c:numCache>
                <c:formatCode>General</c:formatCode>
                <c:ptCount val="108"/>
                <c:pt idx="0">
                  <c:v>15044</c:v>
                </c:pt>
                <c:pt idx="1">
                  <c:v>7080</c:v>
                </c:pt>
                <c:pt idx="2">
                  <c:v>5360</c:v>
                </c:pt>
                <c:pt idx="3">
                  <c:v>3180</c:v>
                </c:pt>
                <c:pt idx="4">
                  <c:v>1772</c:v>
                </c:pt>
                <c:pt idx="5">
                  <c:v>9654</c:v>
                </c:pt>
                <c:pt idx="6">
                  <c:v>11772</c:v>
                </c:pt>
                <c:pt idx="7">
                  <c:v>13294</c:v>
                </c:pt>
                <c:pt idx="8">
                  <c:v>9778</c:v>
                </c:pt>
                <c:pt idx="9">
                  <c:v>9470</c:v>
                </c:pt>
                <c:pt idx="10">
                  <c:v>10120</c:v>
                </c:pt>
                <c:pt idx="11">
                  <c:v>9198</c:v>
                </c:pt>
                <c:pt idx="12">
                  <c:v>8348</c:v>
                </c:pt>
                <c:pt idx="13">
                  <c:v>8484</c:v>
                </c:pt>
                <c:pt idx="14">
                  <c:v>8248</c:v>
                </c:pt>
                <c:pt idx="15">
                  <c:v>10272</c:v>
                </c:pt>
                <c:pt idx="16">
                  <c:v>7372</c:v>
                </c:pt>
                <c:pt idx="17">
                  <c:v>1790</c:v>
                </c:pt>
                <c:pt idx="18">
                  <c:v>120</c:v>
                </c:pt>
                <c:pt idx="19">
                  <c:v>134</c:v>
                </c:pt>
                <c:pt idx="20">
                  <c:v>142</c:v>
                </c:pt>
                <c:pt idx="21">
                  <c:v>180</c:v>
                </c:pt>
                <c:pt idx="22">
                  <c:v>98</c:v>
                </c:pt>
                <c:pt idx="23">
                  <c:v>172</c:v>
                </c:pt>
                <c:pt idx="24">
                  <c:v>264</c:v>
                </c:pt>
                <c:pt idx="25">
                  <c:v>116</c:v>
                </c:pt>
                <c:pt idx="26">
                  <c:v>34</c:v>
                </c:pt>
                <c:pt idx="27">
                  <c:v>6128</c:v>
                </c:pt>
                <c:pt idx="28">
                  <c:v>13801</c:v>
                </c:pt>
                <c:pt idx="29">
                  <c:v>12144</c:v>
                </c:pt>
                <c:pt idx="30">
                  <c:v>12238</c:v>
                </c:pt>
                <c:pt idx="31">
                  <c:v>10950</c:v>
                </c:pt>
                <c:pt idx="32">
                  <c:v>10412</c:v>
                </c:pt>
                <c:pt idx="33">
                  <c:v>11448</c:v>
                </c:pt>
                <c:pt idx="34">
                  <c:v>13322</c:v>
                </c:pt>
                <c:pt idx="35">
                  <c:v>5490</c:v>
                </c:pt>
                <c:pt idx="36">
                  <c:v>388</c:v>
                </c:pt>
                <c:pt idx="37">
                  <c:v>114</c:v>
                </c:pt>
                <c:pt idx="38">
                  <c:v>4820</c:v>
                </c:pt>
                <c:pt idx="39">
                  <c:v>8124</c:v>
                </c:pt>
                <c:pt idx="40">
                  <c:v>11984</c:v>
                </c:pt>
                <c:pt idx="41">
                  <c:v>14358</c:v>
                </c:pt>
                <c:pt idx="42">
                  <c:v>12856</c:v>
                </c:pt>
                <c:pt idx="43">
                  <c:v>9542</c:v>
                </c:pt>
                <c:pt idx="44">
                  <c:v>760</c:v>
                </c:pt>
                <c:pt idx="45">
                  <c:v>52</c:v>
                </c:pt>
                <c:pt idx="46">
                  <c:v>244</c:v>
                </c:pt>
                <c:pt idx="47">
                  <c:v>286</c:v>
                </c:pt>
                <c:pt idx="48">
                  <c:v>358</c:v>
                </c:pt>
                <c:pt idx="49">
                  <c:v>9742</c:v>
                </c:pt>
                <c:pt idx="50">
                  <c:v>11346</c:v>
                </c:pt>
                <c:pt idx="51">
                  <c:v>5636</c:v>
                </c:pt>
                <c:pt idx="52">
                  <c:v>4046</c:v>
                </c:pt>
                <c:pt idx="53">
                  <c:v>14278</c:v>
                </c:pt>
                <c:pt idx="54">
                  <c:v>10192</c:v>
                </c:pt>
                <c:pt idx="55">
                  <c:v>4922</c:v>
                </c:pt>
                <c:pt idx="56">
                  <c:v>17790</c:v>
                </c:pt>
                <c:pt idx="57">
                  <c:v>31969</c:v>
                </c:pt>
                <c:pt idx="58">
                  <c:v>33400</c:v>
                </c:pt>
                <c:pt idx="59">
                  <c:v>47776</c:v>
                </c:pt>
                <c:pt idx="60">
                  <c:v>45265</c:v>
                </c:pt>
                <c:pt idx="61">
                  <c:v>42307</c:v>
                </c:pt>
                <c:pt idx="62">
                  <c:v>31719</c:v>
                </c:pt>
                <c:pt idx="63">
                  <c:v>18059</c:v>
                </c:pt>
                <c:pt idx="64">
                  <c:v>17388</c:v>
                </c:pt>
                <c:pt idx="65">
                  <c:v>18084</c:v>
                </c:pt>
                <c:pt idx="66">
                  <c:v>16440</c:v>
                </c:pt>
                <c:pt idx="67">
                  <c:v>14974</c:v>
                </c:pt>
                <c:pt idx="68">
                  <c:v>13672</c:v>
                </c:pt>
                <c:pt idx="69">
                  <c:v>15030</c:v>
                </c:pt>
                <c:pt idx="70">
                  <c:v>14432</c:v>
                </c:pt>
                <c:pt idx="71">
                  <c:v>13321</c:v>
                </c:pt>
                <c:pt idx="72">
                  <c:v>6760</c:v>
                </c:pt>
                <c:pt idx="73">
                  <c:v>242</c:v>
                </c:pt>
                <c:pt idx="74">
                  <c:v>138</c:v>
                </c:pt>
                <c:pt idx="75">
                  <c:v>232</c:v>
                </c:pt>
                <c:pt idx="76">
                  <c:v>620</c:v>
                </c:pt>
                <c:pt idx="77">
                  <c:v>176</c:v>
                </c:pt>
                <c:pt idx="78">
                  <c:v>270</c:v>
                </c:pt>
                <c:pt idx="79">
                  <c:v>8723</c:v>
                </c:pt>
                <c:pt idx="80">
                  <c:v>15670</c:v>
                </c:pt>
                <c:pt idx="81">
                  <c:v>16121</c:v>
                </c:pt>
                <c:pt idx="82">
                  <c:v>14844</c:v>
                </c:pt>
                <c:pt idx="83">
                  <c:v>4507</c:v>
                </c:pt>
                <c:pt idx="84">
                  <c:v>3685</c:v>
                </c:pt>
                <c:pt idx="85">
                  <c:v>114</c:v>
                </c:pt>
                <c:pt idx="86">
                  <c:v>2486</c:v>
                </c:pt>
                <c:pt idx="87">
                  <c:v>204</c:v>
                </c:pt>
                <c:pt idx="88">
                  <c:v>264</c:v>
                </c:pt>
                <c:pt idx="89">
                  <c:v>144</c:v>
                </c:pt>
                <c:pt idx="90">
                  <c:v>4476</c:v>
                </c:pt>
                <c:pt idx="91">
                  <c:v>9565</c:v>
                </c:pt>
                <c:pt idx="92">
                  <c:v>16667</c:v>
                </c:pt>
                <c:pt idx="93">
                  <c:v>19485</c:v>
                </c:pt>
                <c:pt idx="94">
                  <c:v>9229</c:v>
                </c:pt>
                <c:pt idx="95">
                  <c:v>177</c:v>
                </c:pt>
                <c:pt idx="96">
                  <c:v>184</c:v>
                </c:pt>
                <c:pt idx="97">
                  <c:v>23587</c:v>
                </c:pt>
                <c:pt idx="98">
                  <c:v>73824</c:v>
                </c:pt>
                <c:pt idx="99">
                  <c:v>71232</c:v>
                </c:pt>
                <c:pt idx="100">
                  <c:v>78714</c:v>
                </c:pt>
                <c:pt idx="101">
                  <c:v>80577</c:v>
                </c:pt>
                <c:pt idx="102">
                  <c:v>88030</c:v>
                </c:pt>
                <c:pt idx="103">
                  <c:v>74659</c:v>
                </c:pt>
                <c:pt idx="104">
                  <c:v>78201</c:v>
                </c:pt>
                <c:pt idx="105">
                  <c:v>71779</c:v>
                </c:pt>
                <c:pt idx="106">
                  <c:v>70983</c:v>
                </c:pt>
                <c:pt idx="107">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61</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0.1</c:v>
                </c:pt>
                <c:pt idx="1">
                  <c:v>0.1</c:v>
                </c:pt>
                <c:pt idx="2">
                  <c:v>0.05</c:v>
                </c:pt>
                <c:pt idx="3">
                  <c:v>0.05</c:v>
                </c:pt>
                <c:pt idx="4">
                  <c:v>0.2</c:v>
                </c:pt>
                <c:pt idx="5">
                  <c:v>0.1</c:v>
                </c:pt>
                <c:pt idx="6">
                  <c:v>0.1</c:v>
                </c:pt>
                <c:pt idx="7">
                  <c:v>0.1</c:v>
                </c:pt>
                <c:pt idx="8">
                  <c:v>0.15</c:v>
                </c:pt>
                <c:pt idx="9">
                  <c:v>0.15</c:v>
                </c:pt>
                <c:pt idx="10">
                  <c:v>0.15</c:v>
                </c:pt>
                <c:pt idx="11">
                  <c:v>0.25</c:v>
                </c:pt>
                <c:pt idx="12">
                  <c:v>0.2</c:v>
                </c:pt>
                <c:pt idx="13">
                  <c:v>0.1</c:v>
                </c:pt>
                <c:pt idx="14">
                  <c:v>0</c:v>
                </c:pt>
                <c:pt idx="15">
                  <c:v>0</c:v>
                </c:pt>
                <c:pt idx="16">
                  <c:v>0</c:v>
                </c:pt>
                <c:pt idx="17">
                  <c:v>0</c:v>
                </c:pt>
                <c:pt idx="18">
                  <c:v>0</c:v>
                </c:pt>
                <c:pt idx="19">
                  <c:v>0.1</c:v>
                </c:pt>
                <c:pt idx="20">
                  <c:v>0.2</c:v>
                </c:pt>
                <c:pt idx="21">
                  <c:v>0.15</c:v>
                </c:pt>
                <c:pt idx="22">
                  <c:v>0.15</c:v>
                </c:pt>
                <c:pt idx="23">
                  <c:v>0.15</c:v>
                </c:pt>
                <c:pt idx="24">
                  <c:v>0.1</c:v>
                </c:pt>
                <c:pt idx="25">
                  <c:v>0.2</c:v>
                </c:pt>
                <c:pt idx="26">
                  <c:v>0.05</c:v>
                </c:pt>
                <c:pt idx="27">
                  <c:v>0.05</c:v>
                </c:pt>
                <c:pt idx="28">
                  <c:v>0.2</c:v>
                </c:pt>
                <c:pt idx="29">
                  <c:v>0.2</c:v>
                </c:pt>
                <c:pt idx="30">
                  <c:v>0.2</c:v>
                </c:pt>
                <c:pt idx="31">
                  <c:v>0.1</c:v>
                </c:pt>
                <c:pt idx="32">
                  <c:v>0</c:v>
                </c:pt>
                <c:pt idx="33">
                  <c:v>0</c:v>
                </c:pt>
                <c:pt idx="34">
                  <c:v>0</c:v>
                </c:pt>
                <c:pt idx="35">
                  <c:v>0.2</c:v>
                </c:pt>
                <c:pt idx="36">
                  <c:v>0.15</c:v>
                </c:pt>
                <c:pt idx="37">
                  <c:v>0.2</c:v>
                </c:pt>
                <c:pt idx="38">
                  <c:v>0.15</c:v>
                </c:pt>
                <c:pt idx="39">
                  <c:v>0.05</c:v>
                </c:pt>
                <c:pt idx="40">
                  <c:v>0.15</c:v>
                </c:pt>
                <c:pt idx="41">
                  <c:v>0.15</c:v>
                </c:pt>
                <c:pt idx="42">
                  <c:v>0.4</c:v>
                </c:pt>
                <c:pt idx="43">
                  <c:v>0.15</c:v>
                </c:pt>
                <c:pt idx="44">
                  <c:v>0.2</c:v>
                </c:pt>
                <c:pt idx="45">
                  <c:v>0.25</c:v>
                </c:pt>
                <c:pt idx="46">
                  <c:v>0.25</c:v>
                </c:pt>
                <c:pt idx="47">
                  <c:v>0.15</c:v>
                </c:pt>
                <c:pt idx="48">
                  <c:v>0.25</c:v>
                </c:pt>
                <c:pt idx="49">
                  <c:v>0.2</c:v>
                </c:pt>
                <c:pt idx="50">
                  <c:v>0.05</c:v>
                </c:pt>
                <c:pt idx="51">
                  <c:v>0.05</c:v>
                </c:pt>
                <c:pt idx="52">
                  <c:v>0.1</c:v>
                </c:pt>
                <c:pt idx="53">
                  <c:v>0.1</c:v>
                </c:pt>
                <c:pt idx="54">
                  <c:v>0.2</c:v>
                </c:pt>
                <c:pt idx="55">
                  <c:v>0.2</c:v>
                </c:pt>
                <c:pt idx="56">
                  <c:v>0.2</c:v>
                </c:pt>
                <c:pt idx="57">
                  <c:v>0.2</c:v>
                </c:pt>
                <c:pt idx="58">
                  <c:v>0.15</c:v>
                </c:pt>
                <c:pt idx="59">
                  <c:v>0.05</c:v>
                </c:pt>
                <c:pt idx="60">
                  <c:v>0.1</c:v>
                </c:pt>
                <c:pt idx="61">
                  <c:v>0.15</c:v>
                </c:pt>
                <c:pt idx="62">
                  <c:v>0.2</c:v>
                </c:pt>
                <c:pt idx="63">
                  <c:v>0.15</c:v>
                </c:pt>
                <c:pt idx="64">
                  <c:v>0</c:v>
                </c:pt>
                <c:pt idx="65">
                  <c:v>0</c:v>
                </c:pt>
                <c:pt idx="66">
                  <c:v>0</c:v>
                </c:pt>
                <c:pt idx="67">
                  <c:v>0</c:v>
                </c:pt>
                <c:pt idx="68">
                  <c:v>0</c:v>
                </c:pt>
                <c:pt idx="69">
                  <c:v>0.15</c:v>
                </c:pt>
                <c:pt idx="70">
                  <c:v>0.2</c:v>
                </c:pt>
                <c:pt idx="71">
                  <c:v>0.15</c:v>
                </c:pt>
                <c:pt idx="72">
                  <c:v>0.2</c:v>
                </c:pt>
                <c:pt idx="73">
                  <c:v>0.15</c:v>
                </c:pt>
                <c:pt idx="74">
                  <c:v>0.15</c:v>
                </c:pt>
                <c:pt idx="75">
                  <c:v>0.2</c:v>
                </c:pt>
                <c:pt idx="76">
                  <c:v>0.1</c:v>
                </c:pt>
                <c:pt idx="77">
                  <c:v>0.05</c:v>
                </c:pt>
                <c:pt idx="78">
                  <c:v>0.1</c:v>
                </c:pt>
                <c:pt idx="79">
                  <c:v>0.15</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23</c:v>
                </c:pt>
                <c:pt idx="1">
                  <c:v>23</c:v>
                </c:pt>
                <c:pt idx="2">
                  <c:v>23.5</c:v>
                </c:pt>
                <c:pt idx="3">
                  <c:v>24</c:v>
                </c:pt>
                <c:pt idx="4">
                  <c:v>19.5</c:v>
                </c:pt>
                <c:pt idx="5">
                  <c:v>19.5</c:v>
                </c:pt>
                <c:pt idx="6">
                  <c:v>19.5</c:v>
                </c:pt>
                <c:pt idx="7">
                  <c:v>19.5</c:v>
                </c:pt>
                <c:pt idx="8">
                  <c:v>21</c:v>
                </c:pt>
                <c:pt idx="9">
                  <c:v>21</c:v>
                </c:pt>
                <c:pt idx="10">
                  <c:v>20.5</c:v>
                </c:pt>
                <c:pt idx="11">
                  <c:v>19</c:v>
                </c:pt>
                <c:pt idx="12">
                  <c:v>19.5</c:v>
                </c:pt>
                <c:pt idx="13">
                  <c:v>22.5</c:v>
                </c:pt>
                <c:pt idx="14">
                  <c:v>22.5</c:v>
                </c:pt>
                <c:pt idx="15">
                  <c:v>22.5</c:v>
                </c:pt>
                <c:pt idx="16">
                  <c:v>22.5</c:v>
                </c:pt>
                <c:pt idx="17">
                  <c:v>22.5</c:v>
                </c:pt>
                <c:pt idx="18">
                  <c:v>22</c:v>
                </c:pt>
                <c:pt idx="19">
                  <c:v>20.5</c:v>
                </c:pt>
                <c:pt idx="20">
                  <c:v>19.5</c:v>
                </c:pt>
                <c:pt idx="21">
                  <c:v>19</c:v>
                </c:pt>
                <c:pt idx="22">
                  <c:v>18.5</c:v>
                </c:pt>
                <c:pt idx="23">
                  <c:v>19</c:v>
                </c:pt>
                <c:pt idx="24">
                  <c:v>20.5</c:v>
                </c:pt>
                <c:pt idx="25">
                  <c:v>20</c:v>
                </c:pt>
                <c:pt idx="26">
                  <c:v>21</c:v>
                </c:pt>
                <c:pt idx="27">
                  <c:v>21.5</c:v>
                </c:pt>
                <c:pt idx="28">
                  <c:v>18</c:v>
                </c:pt>
                <c:pt idx="29">
                  <c:v>18</c:v>
                </c:pt>
                <c:pt idx="30">
                  <c:v>18</c:v>
                </c:pt>
                <c:pt idx="31">
                  <c:v>19.5</c:v>
                </c:pt>
                <c:pt idx="32">
                  <c:v>22.5</c:v>
                </c:pt>
                <c:pt idx="33">
                  <c:v>22.5</c:v>
                </c:pt>
                <c:pt idx="34">
                  <c:v>22.5</c:v>
                </c:pt>
                <c:pt idx="35">
                  <c:v>19</c:v>
                </c:pt>
                <c:pt idx="36">
                  <c:v>20</c:v>
                </c:pt>
                <c:pt idx="37">
                  <c:v>16</c:v>
                </c:pt>
                <c:pt idx="38">
                  <c:v>20</c:v>
                </c:pt>
                <c:pt idx="39">
                  <c:v>21</c:v>
                </c:pt>
                <c:pt idx="40">
                  <c:v>21.5</c:v>
                </c:pt>
                <c:pt idx="41">
                  <c:v>20.5</c:v>
                </c:pt>
                <c:pt idx="42">
                  <c:v>15</c:v>
                </c:pt>
                <c:pt idx="43">
                  <c:v>21.5</c:v>
                </c:pt>
                <c:pt idx="44">
                  <c:v>21</c:v>
                </c:pt>
                <c:pt idx="45">
                  <c:v>20</c:v>
                </c:pt>
                <c:pt idx="46">
                  <c:v>20</c:v>
                </c:pt>
                <c:pt idx="47">
                  <c:v>21.5</c:v>
                </c:pt>
                <c:pt idx="48">
                  <c:v>15</c:v>
                </c:pt>
                <c:pt idx="49">
                  <c:v>16.5</c:v>
                </c:pt>
                <c:pt idx="50">
                  <c:v>19.5</c:v>
                </c:pt>
                <c:pt idx="51">
                  <c:v>19</c:v>
                </c:pt>
                <c:pt idx="52">
                  <c:v>18</c:v>
                </c:pt>
                <c:pt idx="53">
                  <c:v>18</c:v>
                </c:pt>
                <c:pt idx="54">
                  <c:v>16.5</c:v>
                </c:pt>
                <c:pt idx="55">
                  <c:v>16.5</c:v>
                </c:pt>
                <c:pt idx="56">
                  <c:v>16.5</c:v>
                </c:pt>
                <c:pt idx="57">
                  <c:v>16.5</c:v>
                </c:pt>
                <c:pt idx="58">
                  <c:v>17.5</c:v>
                </c:pt>
                <c:pt idx="59">
                  <c:v>19.5</c:v>
                </c:pt>
                <c:pt idx="60">
                  <c:v>18.5</c:v>
                </c:pt>
                <c:pt idx="61">
                  <c:v>17</c:v>
                </c:pt>
                <c:pt idx="62">
                  <c:v>16</c:v>
                </c:pt>
                <c:pt idx="63">
                  <c:v>17.5</c:v>
                </c:pt>
                <c:pt idx="64">
                  <c:v>20</c:v>
                </c:pt>
                <c:pt idx="65">
                  <c:v>20</c:v>
                </c:pt>
                <c:pt idx="66">
                  <c:v>20</c:v>
                </c:pt>
                <c:pt idx="67">
                  <c:v>20</c:v>
                </c:pt>
                <c:pt idx="68">
                  <c:v>20.5</c:v>
                </c:pt>
                <c:pt idx="69">
                  <c:v>17.5</c:v>
                </c:pt>
                <c:pt idx="70">
                  <c:v>16</c:v>
                </c:pt>
                <c:pt idx="71">
                  <c:v>17.5</c:v>
                </c:pt>
                <c:pt idx="72">
                  <c:v>16.5</c:v>
                </c:pt>
                <c:pt idx="73">
                  <c:v>16.5</c:v>
                </c:pt>
                <c:pt idx="74">
                  <c:v>16.5</c:v>
                </c:pt>
                <c:pt idx="75">
                  <c:v>16.5</c:v>
                </c:pt>
                <c:pt idx="76">
                  <c:v>18.5</c:v>
                </c:pt>
                <c:pt idx="77">
                  <c:v>19.5</c:v>
                </c:pt>
                <c:pt idx="78">
                  <c:v>18</c:v>
                </c:pt>
                <c:pt idx="79">
                  <c:v>17</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799999999999997"/>
          <c:min val="1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1</c:f>
              <c:numCache>
                <c:formatCode>General</c:formatCode>
                <c:ptCount val="130"/>
                <c:pt idx="0">
                  <c:v>0.65</c:v>
                </c:pt>
                <c:pt idx="1">
                  <c:v>0.65</c:v>
                </c:pt>
                <c:pt idx="2">
                  <c:v>0.15</c:v>
                </c:pt>
                <c:pt idx="3">
                  <c:v>0</c:v>
                </c:pt>
                <c:pt idx="4">
                  <c:v>0.05</c:v>
                </c:pt>
                <c:pt idx="5">
                  <c:v>0.1</c:v>
                </c:pt>
                <c:pt idx="6">
                  <c:v>0.05</c:v>
                </c:pt>
                <c:pt idx="7">
                  <c:v>0.1</c:v>
                </c:pt>
                <c:pt idx="8">
                  <c:v>0.05</c:v>
                </c:pt>
                <c:pt idx="9">
                  <c:v>0.60000000000000009</c:v>
                </c:pt>
                <c:pt idx="10">
                  <c:v>0.60000000000000009</c:v>
                </c:pt>
                <c:pt idx="11">
                  <c:v>0.15</c:v>
                </c:pt>
                <c:pt idx="12">
                  <c:v>0.1</c:v>
                </c:pt>
                <c:pt idx="13">
                  <c:v>0.15</c:v>
                </c:pt>
                <c:pt idx="14">
                  <c:v>0.1</c:v>
                </c:pt>
                <c:pt idx="15">
                  <c:v>0.1</c:v>
                </c:pt>
                <c:pt idx="16">
                  <c:v>0.1</c:v>
                </c:pt>
                <c:pt idx="17">
                  <c:v>0.1</c:v>
                </c:pt>
                <c:pt idx="18">
                  <c:v>0.1</c:v>
                </c:pt>
                <c:pt idx="19">
                  <c:v>0.1</c:v>
                </c:pt>
                <c:pt idx="20">
                  <c:v>0.1</c:v>
                </c:pt>
                <c:pt idx="21">
                  <c:v>0.1</c:v>
                </c:pt>
                <c:pt idx="22">
                  <c:v>0.1</c:v>
                </c:pt>
                <c:pt idx="23">
                  <c:v>0.5</c:v>
                </c:pt>
                <c:pt idx="24">
                  <c:v>0.55000000000000004</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05</c:v>
                </c:pt>
                <c:pt idx="52">
                  <c:v>0.1</c:v>
                </c:pt>
                <c:pt idx="53">
                  <c:v>0</c:v>
                </c:pt>
                <c:pt idx="54">
                  <c:v>0</c:v>
                </c:pt>
                <c:pt idx="55">
                  <c:v>0</c:v>
                </c:pt>
                <c:pt idx="56">
                  <c:v>0</c:v>
                </c:pt>
                <c:pt idx="57">
                  <c:v>0</c:v>
                </c:pt>
                <c:pt idx="58">
                  <c:v>0</c:v>
                </c:pt>
                <c:pt idx="59">
                  <c:v>0</c:v>
                </c:pt>
                <c:pt idx="60">
                  <c:v>0</c:v>
                </c:pt>
                <c:pt idx="61">
                  <c:v>0</c:v>
                </c:pt>
                <c:pt idx="62">
                  <c:v>0</c:v>
                </c:pt>
                <c:pt idx="63">
                  <c:v>0</c:v>
                </c:pt>
                <c:pt idx="64">
                  <c:v>0.3</c:v>
                </c:pt>
                <c:pt idx="65">
                  <c:v>0</c:v>
                </c:pt>
                <c:pt idx="66">
                  <c:v>0</c:v>
                </c:pt>
                <c:pt idx="67">
                  <c:v>0</c:v>
                </c:pt>
                <c:pt idx="68">
                  <c:v>0</c:v>
                </c:pt>
                <c:pt idx="69">
                  <c:v>0</c:v>
                </c:pt>
                <c:pt idx="70">
                  <c:v>0</c:v>
                </c:pt>
                <c:pt idx="71">
                  <c:v>0</c:v>
                </c:pt>
                <c:pt idx="72">
                  <c:v>0</c:v>
                </c:pt>
                <c:pt idx="73">
                  <c:v>0</c:v>
                </c:pt>
                <c:pt idx="74">
                  <c:v>0</c:v>
                </c:pt>
                <c:pt idx="75">
                  <c:v>0</c:v>
                </c:pt>
                <c:pt idx="76">
                  <c:v>0.4</c:v>
                </c:pt>
                <c:pt idx="77">
                  <c:v>0.35</c:v>
                </c:pt>
                <c:pt idx="78">
                  <c:v>0.4</c:v>
                </c:pt>
                <c:pt idx="79">
                  <c:v>0.05</c:v>
                </c:pt>
                <c:pt idx="80">
                  <c:v>0.05</c:v>
                </c:pt>
                <c:pt idx="81">
                  <c:v>0.1</c:v>
                </c:pt>
                <c:pt idx="82">
                  <c:v>0.1</c:v>
                </c:pt>
                <c:pt idx="83">
                  <c:v>0.1</c:v>
                </c:pt>
                <c:pt idx="84">
                  <c:v>0.1</c:v>
                </c:pt>
                <c:pt idx="85">
                  <c:v>0.1</c:v>
                </c:pt>
                <c:pt idx="86">
                  <c:v>0.05</c:v>
                </c:pt>
                <c:pt idx="87">
                  <c:v>0.05</c:v>
                </c:pt>
                <c:pt idx="88">
                  <c:v>0.05</c:v>
                </c:pt>
                <c:pt idx="89">
                  <c:v>0.05</c:v>
                </c:pt>
                <c:pt idx="90">
                  <c:v>0.05</c:v>
                </c:pt>
                <c:pt idx="91">
                  <c:v>0</c:v>
                </c:pt>
                <c:pt idx="92">
                  <c:v>0</c:v>
                </c:pt>
                <c:pt idx="93">
                  <c:v>0</c:v>
                </c:pt>
                <c:pt idx="94">
                  <c:v>0</c:v>
                </c:pt>
                <c:pt idx="95">
                  <c:v>0</c:v>
                </c:pt>
                <c:pt idx="96">
                  <c:v>0</c:v>
                </c:pt>
                <c:pt idx="97">
                  <c:v>0</c:v>
                </c:pt>
                <c:pt idx="98">
                  <c:v>0</c:v>
                </c:pt>
                <c:pt idx="99">
                  <c:v>0</c:v>
                </c:pt>
                <c:pt idx="100">
                  <c:v>0</c:v>
                </c:pt>
                <c:pt idx="101">
                  <c:v>0</c:v>
                </c:pt>
                <c:pt idx="102">
                  <c:v>0</c:v>
                </c:pt>
                <c:pt idx="103">
                  <c:v>0.3</c:v>
                </c:pt>
                <c:pt idx="104">
                  <c:v>0</c:v>
                </c:pt>
                <c:pt idx="105">
                  <c:v>0</c:v>
                </c:pt>
                <c:pt idx="106">
                  <c:v>0</c:v>
                </c:pt>
                <c:pt idx="107">
                  <c:v>0</c:v>
                </c:pt>
                <c:pt idx="108">
                  <c:v>0</c:v>
                </c:pt>
                <c:pt idx="109">
                  <c:v>0</c:v>
                </c:pt>
                <c:pt idx="110">
                  <c:v>0</c:v>
                </c:pt>
                <c:pt idx="111">
                  <c:v>0</c:v>
                </c:pt>
                <c:pt idx="112">
                  <c:v>0</c:v>
                </c:pt>
                <c:pt idx="113">
                  <c:v>0</c:v>
                </c:pt>
                <c:pt idx="114">
                  <c:v>0</c:v>
                </c:pt>
                <c:pt idx="115">
                  <c:v>0.4</c:v>
                </c:pt>
                <c:pt idx="116">
                  <c:v>0.1</c:v>
                </c:pt>
                <c:pt idx="117">
                  <c:v>0.1</c:v>
                </c:pt>
                <c:pt idx="118">
                  <c:v>0.1</c:v>
                </c:pt>
                <c:pt idx="119">
                  <c:v>0.1</c:v>
                </c:pt>
                <c:pt idx="120">
                  <c:v>0.1</c:v>
                </c:pt>
                <c:pt idx="121">
                  <c:v>0.1</c:v>
                </c:pt>
                <c:pt idx="122">
                  <c:v>0.1</c:v>
                </c:pt>
                <c:pt idx="123">
                  <c:v>0.1</c:v>
                </c:pt>
                <c:pt idx="124">
                  <c:v>0.1</c:v>
                </c:pt>
                <c:pt idx="125">
                  <c:v>0.55000000000000004</c:v>
                </c:pt>
                <c:pt idx="126">
                  <c:v>0.5</c:v>
                </c:pt>
                <c:pt idx="127">
                  <c:v>0.1</c:v>
                </c:pt>
                <c:pt idx="128">
                  <c:v>0.1</c:v>
                </c:pt>
                <c:pt idx="129">
                  <c:v>0.55000000000000004</c:v>
                </c:pt>
              </c:numCache>
            </c:numRef>
          </c:xVal>
          <c:yVal>
            <c:numRef>
              <c:f>Sheet1!$B$2:$B$131</c:f>
              <c:numCache>
                <c:formatCode>General</c:formatCode>
                <c:ptCount val="130"/>
                <c:pt idx="0">
                  <c:v>0.87388193202146691</c:v>
                </c:pt>
                <c:pt idx="1">
                  <c:v>0.40657113909393539</c:v>
                </c:pt>
                <c:pt idx="2">
                  <c:v>0</c:v>
                </c:pt>
                <c:pt idx="3">
                  <c:v>0</c:v>
                </c:pt>
                <c:pt idx="4">
                  <c:v>0</c:v>
                </c:pt>
                <c:pt idx="5">
                  <c:v>0</c:v>
                </c:pt>
                <c:pt idx="6">
                  <c:v>0</c:v>
                </c:pt>
                <c:pt idx="7">
                  <c:v>0</c:v>
                </c:pt>
                <c:pt idx="8">
                  <c:v>0</c:v>
                </c:pt>
                <c:pt idx="9">
                  <c:v>0.58664971314511916</c:v>
                </c:pt>
                <c:pt idx="10">
                  <c:v>0.53240658421394194</c:v>
                </c:pt>
                <c:pt idx="11">
                  <c:v>0</c:v>
                </c:pt>
                <c:pt idx="12">
                  <c:v>0</c:v>
                </c:pt>
                <c:pt idx="13">
                  <c:v>0</c:v>
                </c:pt>
                <c:pt idx="14">
                  <c:v>0</c:v>
                </c:pt>
                <c:pt idx="15">
                  <c:v>3.6064811690697382E-3</c:v>
                </c:pt>
                <c:pt idx="16">
                  <c:v>0.18428223887646261</c:v>
                </c:pt>
                <c:pt idx="17">
                  <c:v>4.4485855792578528E-2</c:v>
                </c:pt>
                <c:pt idx="18">
                  <c:v>1.074536469066999E-2</c:v>
                </c:pt>
                <c:pt idx="19">
                  <c:v>0</c:v>
                </c:pt>
                <c:pt idx="20">
                  <c:v>4.4286341356353787E-2</c:v>
                </c:pt>
                <c:pt idx="21">
                  <c:v>9.5030221921740862E-2</c:v>
                </c:pt>
                <c:pt idx="22">
                  <c:v>0.15755358841173461</c:v>
                </c:pt>
                <c:pt idx="23">
                  <c:v>0.66535516966160668</c:v>
                </c:pt>
                <c:pt idx="24">
                  <c:v>0.35411594345179648</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1.208548268238762E-2</c:v>
                </c:pt>
                <c:pt idx="52">
                  <c:v>1.9414048711613129E-2</c:v>
                </c:pt>
                <c:pt idx="53">
                  <c:v>0</c:v>
                </c:pt>
                <c:pt idx="54">
                  <c:v>0</c:v>
                </c:pt>
                <c:pt idx="55">
                  <c:v>0</c:v>
                </c:pt>
                <c:pt idx="56">
                  <c:v>0</c:v>
                </c:pt>
                <c:pt idx="57">
                  <c:v>0</c:v>
                </c:pt>
                <c:pt idx="58">
                  <c:v>0</c:v>
                </c:pt>
                <c:pt idx="59">
                  <c:v>0</c:v>
                </c:pt>
                <c:pt idx="60">
                  <c:v>0</c:v>
                </c:pt>
                <c:pt idx="61">
                  <c:v>0</c:v>
                </c:pt>
                <c:pt idx="62">
                  <c:v>0</c:v>
                </c:pt>
                <c:pt idx="63">
                  <c:v>0</c:v>
                </c:pt>
                <c:pt idx="64">
                  <c:v>7.0868639048581716</c:v>
                </c:pt>
                <c:pt idx="65">
                  <c:v>0</c:v>
                </c:pt>
                <c:pt idx="66">
                  <c:v>0</c:v>
                </c:pt>
                <c:pt idx="67">
                  <c:v>0</c:v>
                </c:pt>
                <c:pt idx="68">
                  <c:v>0</c:v>
                </c:pt>
                <c:pt idx="69">
                  <c:v>0</c:v>
                </c:pt>
                <c:pt idx="70">
                  <c:v>0</c:v>
                </c:pt>
                <c:pt idx="71">
                  <c:v>0</c:v>
                </c:pt>
                <c:pt idx="72">
                  <c:v>0</c:v>
                </c:pt>
                <c:pt idx="73">
                  <c:v>0</c:v>
                </c:pt>
                <c:pt idx="74">
                  <c:v>0</c:v>
                </c:pt>
                <c:pt idx="75">
                  <c:v>0</c:v>
                </c:pt>
                <c:pt idx="76">
                  <c:v>6.6735813081228716</c:v>
                </c:pt>
                <c:pt idx="77">
                  <c:v>8.4190832553788592E-2</c:v>
                </c:pt>
                <c:pt idx="78">
                  <c:v>0.15608959402706479</c:v>
                </c:pt>
                <c:pt idx="79">
                  <c:v>0</c:v>
                </c:pt>
                <c:pt idx="80">
                  <c:v>0</c:v>
                </c:pt>
                <c:pt idx="81">
                  <c:v>4.2928911239096292E-2</c:v>
                </c:pt>
                <c:pt idx="82">
                  <c:v>4.9114348672794912E-2</c:v>
                </c:pt>
                <c:pt idx="83">
                  <c:v>2.389419490227571E-2</c:v>
                </c:pt>
                <c:pt idx="84">
                  <c:v>3.4681866912813802E-2</c:v>
                </c:pt>
                <c:pt idx="85">
                  <c:v>2.5666582684389171E-2</c:v>
                </c:pt>
                <c:pt idx="86">
                  <c:v>3.2344375495060432E-2</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6.3668380332690564</c:v>
                </c:pt>
                <c:pt idx="104">
                  <c:v>0</c:v>
                </c:pt>
                <c:pt idx="105">
                  <c:v>0</c:v>
                </c:pt>
                <c:pt idx="106">
                  <c:v>0</c:v>
                </c:pt>
                <c:pt idx="107">
                  <c:v>0</c:v>
                </c:pt>
                <c:pt idx="108">
                  <c:v>0</c:v>
                </c:pt>
                <c:pt idx="109">
                  <c:v>0</c:v>
                </c:pt>
                <c:pt idx="110">
                  <c:v>0</c:v>
                </c:pt>
                <c:pt idx="111">
                  <c:v>0</c:v>
                </c:pt>
                <c:pt idx="112">
                  <c:v>0</c:v>
                </c:pt>
                <c:pt idx="113">
                  <c:v>0</c:v>
                </c:pt>
                <c:pt idx="114">
                  <c:v>0.118202886940101</c:v>
                </c:pt>
                <c:pt idx="115">
                  <c:v>9.6100644010672305</c:v>
                </c:pt>
                <c:pt idx="116">
                  <c:v>0</c:v>
                </c:pt>
                <c:pt idx="117">
                  <c:v>0.1075739850080159</c:v>
                </c:pt>
                <c:pt idx="118">
                  <c:v>0.12924172747363891</c:v>
                </c:pt>
                <c:pt idx="119">
                  <c:v>8.9179428686614243E-2</c:v>
                </c:pt>
                <c:pt idx="120">
                  <c:v>1.8823908838789379E-2</c:v>
                </c:pt>
                <c:pt idx="121">
                  <c:v>4.4997333996871877E-2</c:v>
                </c:pt>
                <c:pt idx="122">
                  <c:v>1.5174586903428671E-2</c:v>
                </c:pt>
                <c:pt idx="123">
                  <c:v>6.8489152641307519E-2</c:v>
                </c:pt>
                <c:pt idx="124">
                  <c:v>1.1495774739492599E-2</c:v>
                </c:pt>
                <c:pt idx="125">
                  <c:v>0.61343300703579084</c:v>
                </c:pt>
                <c:pt idx="126">
                  <c:v>0.35530624225425611</c:v>
                </c:pt>
                <c:pt idx="127">
                  <c:v>0</c:v>
                </c:pt>
                <c:pt idx="128">
                  <c:v>1.511465339210143E-2</c:v>
                </c:pt>
                <c:pt idx="129">
                  <c:v>0.2705585221532689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1</c:f>
              <c:numCache>
                <c:formatCode>General</c:formatCode>
                <c:ptCount val="130"/>
                <c:pt idx="0">
                  <c:v>5</c:v>
                </c:pt>
                <c:pt idx="1">
                  <c:v>4.5</c:v>
                </c:pt>
                <c:pt idx="2">
                  <c:v>8.5</c:v>
                </c:pt>
                <c:pt idx="3">
                  <c:v>10</c:v>
                </c:pt>
                <c:pt idx="4">
                  <c:v>9.5</c:v>
                </c:pt>
                <c:pt idx="5">
                  <c:v>9</c:v>
                </c:pt>
                <c:pt idx="6">
                  <c:v>9.5</c:v>
                </c:pt>
                <c:pt idx="7">
                  <c:v>9</c:v>
                </c:pt>
                <c:pt idx="8">
                  <c:v>9.5</c:v>
                </c:pt>
                <c:pt idx="9">
                  <c:v>4</c:v>
                </c:pt>
                <c:pt idx="10">
                  <c:v>4</c:v>
                </c:pt>
                <c:pt idx="11">
                  <c:v>8.5</c:v>
                </c:pt>
                <c:pt idx="12">
                  <c:v>8.5</c:v>
                </c:pt>
                <c:pt idx="13">
                  <c:v>8.5</c:v>
                </c:pt>
                <c:pt idx="14">
                  <c:v>9</c:v>
                </c:pt>
                <c:pt idx="15">
                  <c:v>27</c:v>
                </c:pt>
                <c:pt idx="16">
                  <c:v>27</c:v>
                </c:pt>
                <c:pt idx="17">
                  <c:v>27</c:v>
                </c:pt>
                <c:pt idx="18">
                  <c:v>27</c:v>
                </c:pt>
                <c:pt idx="19">
                  <c:v>24.5</c:v>
                </c:pt>
                <c:pt idx="20">
                  <c:v>24</c:v>
                </c:pt>
                <c:pt idx="21">
                  <c:v>24.5</c:v>
                </c:pt>
                <c:pt idx="22">
                  <c:v>24</c:v>
                </c:pt>
                <c:pt idx="23">
                  <c:v>6.5</c:v>
                </c:pt>
                <c:pt idx="24">
                  <c:v>6</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5</c:v>
                </c:pt>
                <c:pt idx="39">
                  <c:v>15</c:v>
                </c:pt>
                <c:pt idx="40">
                  <c:v>15</c:v>
                </c:pt>
                <c:pt idx="41">
                  <c:v>15</c:v>
                </c:pt>
                <c:pt idx="42">
                  <c:v>15</c:v>
                </c:pt>
                <c:pt idx="43">
                  <c:v>15</c:v>
                </c:pt>
                <c:pt idx="44">
                  <c:v>15</c:v>
                </c:pt>
                <c:pt idx="45">
                  <c:v>15</c:v>
                </c:pt>
                <c:pt idx="46">
                  <c:v>15</c:v>
                </c:pt>
                <c:pt idx="47">
                  <c:v>15</c:v>
                </c:pt>
                <c:pt idx="48">
                  <c:v>15</c:v>
                </c:pt>
                <c:pt idx="49">
                  <c:v>15</c:v>
                </c:pt>
                <c:pt idx="50">
                  <c:v>15</c:v>
                </c:pt>
                <c:pt idx="51">
                  <c:v>14</c:v>
                </c:pt>
                <c:pt idx="52">
                  <c:v>13.5</c:v>
                </c:pt>
                <c:pt idx="53">
                  <c:v>10</c:v>
                </c:pt>
                <c:pt idx="54">
                  <c:v>10</c:v>
                </c:pt>
                <c:pt idx="55">
                  <c:v>10</c:v>
                </c:pt>
                <c:pt idx="56">
                  <c:v>10</c:v>
                </c:pt>
                <c:pt idx="57">
                  <c:v>10</c:v>
                </c:pt>
                <c:pt idx="58">
                  <c:v>10</c:v>
                </c:pt>
                <c:pt idx="59">
                  <c:v>10</c:v>
                </c:pt>
                <c:pt idx="60">
                  <c:v>10</c:v>
                </c:pt>
                <c:pt idx="61">
                  <c:v>10</c:v>
                </c:pt>
                <c:pt idx="62">
                  <c:v>10</c:v>
                </c:pt>
                <c:pt idx="63">
                  <c:v>10</c:v>
                </c:pt>
                <c:pt idx="64">
                  <c:v>7</c:v>
                </c:pt>
                <c:pt idx="65">
                  <c:v>10</c:v>
                </c:pt>
                <c:pt idx="66">
                  <c:v>10</c:v>
                </c:pt>
                <c:pt idx="67">
                  <c:v>10</c:v>
                </c:pt>
                <c:pt idx="68">
                  <c:v>10</c:v>
                </c:pt>
                <c:pt idx="69">
                  <c:v>10</c:v>
                </c:pt>
                <c:pt idx="70">
                  <c:v>10</c:v>
                </c:pt>
                <c:pt idx="71">
                  <c:v>10</c:v>
                </c:pt>
                <c:pt idx="72">
                  <c:v>10</c:v>
                </c:pt>
                <c:pt idx="73">
                  <c:v>10</c:v>
                </c:pt>
                <c:pt idx="74">
                  <c:v>10</c:v>
                </c:pt>
                <c:pt idx="75">
                  <c:v>10</c:v>
                </c:pt>
                <c:pt idx="76">
                  <c:v>6</c:v>
                </c:pt>
                <c:pt idx="77">
                  <c:v>6.5</c:v>
                </c:pt>
                <c:pt idx="78">
                  <c:v>6</c:v>
                </c:pt>
                <c:pt idx="79">
                  <c:v>6</c:v>
                </c:pt>
                <c:pt idx="80">
                  <c:v>6</c:v>
                </c:pt>
                <c:pt idx="81">
                  <c:v>6</c:v>
                </c:pt>
                <c:pt idx="82">
                  <c:v>6</c:v>
                </c:pt>
                <c:pt idx="83">
                  <c:v>6</c:v>
                </c:pt>
                <c:pt idx="84">
                  <c:v>6</c:v>
                </c:pt>
                <c:pt idx="85">
                  <c:v>6</c:v>
                </c:pt>
                <c:pt idx="86">
                  <c:v>6</c:v>
                </c:pt>
                <c:pt idx="87">
                  <c:v>6.5</c:v>
                </c:pt>
                <c:pt idx="88">
                  <c:v>6</c:v>
                </c:pt>
                <c:pt idx="89">
                  <c:v>14.5</c:v>
                </c:pt>
                <c:pt idx="90">
                  <c:v>10</c:v>
                </c:pt>
                <c:pt idx="91">
                  <c:v>11</c:v>
                </c:pt>
                <c:pt idx="92">
                  <c:v>10</c:v>
                </c:pt>
                <c:pt idx="93">
                  <c:v>10</c:v>
                </c:pt>
                <c:pt idx="94">
                  <c:v>10</c:v>
                </c:pt>
                <c:pt idx="95">
                  <c:v>10</c:v>
                </c:pt>
                <c:pt idx="96">
                  <c:v>10</c:v>
                </c:pt>
                <c:pt idx="97">
                  <c:v>10</c:v>
                </c:pt>
                <c:pt idx="98">
                  <c:v>10</c:v>
                </c:pt>
                <c:pt idx="99">
                  <c:v>10</c:v>
                </c:pt>
                <c:pt idx="100">
                  <c:v>10</c:v>
                </c:pt>
                <c:pt idx="101">
                  <c:v>10</c:v>
                </c:pt>
                <c:pt idx="102">
                  <c:v>10</c:v>
                </c:pt>
                <c:pt idx="103">
                  <c:v>7</c:v>
                </c:pt>
                <c:pt idx="104">
                  <c:v>10</c:v>
                </c:pt>
                <c:pt idx="105">
                  <c:v>10</c:v>
                </c:pt>
                <c:pt idx="106">
                  <c:v>10</c:v>
                </c:pt>
                <c:pt idx="107">
                  <c:v>10</c:v>
                </c:pt>
                <c:pt idx="108">
                  <c:v>10</c:v>
                </c:pt>
                <c:pt idx="109">
                  <c:v>10</c:v>
                </c:pt>
                <c:pt idx="110">
                  <c:v>10</c:v>
                </c:pt>
                <c:pt idx="111">
                  <c:v>10</c:v>
                </c:pt>
                <c:pt idx="112">
                  <c:v>10</c:v>
                </c:pt>
                <c:pt idx="113">
                  <c:v>10</c:v>
                </c:pt>
                <c:pt idx="114">
                  <c:v>10</c:v>
                </c:pt>
                <c:pt idx="115">
                  <c:v>6</c:v>
                </c:pt>
                <c:pt idx="116">
                  <c:v>6</c:v>
                </c:pt>
                <c:pt idx="117">
                  <c:v>6</c:v>
                </c:pt>
                <c:pt idx="118">
                  <c:v>6</c:v>
                </c:pt>
                <c:pt idx="119">
                  <c:v>6</c:v>
                </c:pt>
                <c:pt idx="120">
                  <c:v>6</c:v>
                </c:pt>
                <c:pt idx="121">
                  <c:v>6</c:v>
                </c:pt>
                <c:pt idx="122">
                  <c:v>6</c:v>
                </c:pt>
                <c:pt idx="123">
                  <c:v>6</c:v>
                </c:pt>
                <c:pt idx="124">
                  <c:v>6</c:v>
                </c:pt>
                <c:pt idx="125">
                  <c:v>3</c:v>
                </c:pt>
                <c:pt idx="126">
                  <c:v>3</c:v>
                </c:pt>
                <c:pt idx="127">
                  <c:v>10</c:v>
                </c:pt>
                <c:pt idx="128">
                  <c:v>10</c:v>
                </c:pt>
                <c:pt idx="129">
                  <c:v>5</c:v>
                </c:pt>
              </c:numCache>
            </c:numRef>
          </c:xVal>
          <c:yVal>
            <c:numRef>
              <c:f>Sheet1!$B$2:$B$131</c:f>
              <c:numCache>
                <c:formatCode>General</c:formatCode>
                <c:ptCount val="130"/>
                <c:pt idx="0">
                  <c:v>0.87388193202146691</c:v>
                </c:pt>
                <c:pt idx="1">
                  <c:v>0.40657113909393539</c:v>
                </c:pt>
                <c:pt idx="2">
                  <c:v>0</c:v>
                </c:pt>
                <c:pt idx="3">
                  <c:v>0</c:v>
                </c:pt>
                <c:pt idx="4">
                  <c:v>0</c:v>
                </c:pt>
                <c:pt idx="5">
                  <c:v>0</c:v>
                </c:pt>
                <c:pt idx="6">
                  <c:v>0</c:v>
                </c:pt>
                <c:pt idx="7">
                  <c:v>0</c:v>
                </c:pt>
                <c:pt idx="8">
                  <c:v>0</c:v>
                </c:pt>
                <c:pt idx="9">
                  <c:v>0.58664971314511916</c:v>
                </c:pt>
                <c:pt idx="10">
                  <c:v>0.53240658421394194</c:v>
                </c:pt>
                <c:pt idx="11">
                  <c:v>0</c:v>
                </c:pt>
                <c:pt idx="12">
                  <c:v>0</c:v>
                </c:pt>
                <c:pt idx="13">
                  <c:v>0</c:v>
                </c:pt>
                <c:pt idx="14">
                  <c:v>0</c:v>
                </c:pt>
                <c:pt idx="15">
                  <c:v>3.6064811690697382E-3</c:v>
                </c:pt>
                <c:pt idx="16">
                  <c:v>0.18428223887646261</c:v>
                </c:pt>
                <c:pt idx="17">
                  <c:v>4.4485855792578528E-2</c:v>
                </c:pt>
                <c:pt idx="18">
                  <c:v>1.074536469066999E-2</c:v>
                </c:pt>
                <c:pt idx="19">
                  <c:v>0</c:v>
                </c:pt>
                <c:pt idx="20">
                  <c:v>4.4286341356353787E-2</c:v>
                </c:pt>
                <c:pt idx="21">
                  <c:v>9.5030221921740862E-2</c:v>
                </c:pt>
                <c:pt idx="22">
                  <c:v>0.15755358841173461</c:v>
                </c:pt>
                <c:pt idx="23">
                  <c:v>0.66535516966160668</c:v>
                </c:pt>
                <c:pt idx="24">
                  <c:v>0.35411594345179648</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1.208548268238762E-2</c:v>
                </c:pt>
                <c:pt idx="52">
                  <c:v>1.9414048711613129E-2</c:v>
                </c:pt>
                <c:pt idx="53">
                  <c:v>0</c:v>
                </c:pt>
                <c:pt idx="54">
                  <c:v>0</c:v>
                </c:pt>
                <c:pt idx="55">
                  <c:v>0</c:v>
                </c:pt>
                <c:pt idx="56">
                  <c:v>0</c:v>
                </c:pt>
                <c:pt idx="57">
                  <c:v>0</c:v>
                </c:pt>
                <c:pt idx="58">
                  <c:v>0</c:v>
                </c:pt>
                <c:pt idx="59">
                  <c:v>0</c:v>
                </c:pt>
                <c:pt idx="60">
                  <c:v>0</c:v>
                </c:pt>
                <c:pt idx="61">
                  <c:v>0</c:v>
                </c:pt>
                <c:pt idx="62">
                  <c:v>0</c:v>
                </c:pt>
                <c:pt idx="63">
                  <c:v>0</c:v>
                </c:pt>
                <c:pt idx="64">
                  <c:v>7.0868639048581716</c:v>
                </c:pt>
                <c:pt idx="65">
                  <c:v>0</c:v>
                </c:pt>
                <c:pt idx="66">
                  <c:v>0</c:v>
                </c:pt>
                <c:pt idx="67">
                  <c:v>0</c:v>
                </c:pt>
                <c:pt idx="68">
                  <c:v>0</c:v>
                </c:pt>
                <c:pt idx="69">
                  <c:v>0</c:v>
                </c:pt>
                <c:pt idx="70">
                  <c:v>0</c:v>
                </c:pt>
                <c:pt idx="71">
                  <c:v>0</c:v>
                </c:pt>
                <c:pt idx="72">
                  <c:v>0</c:v>
                </c:pt>
                <c:pt idx="73">
                  <c:v>0</c:v>
                </c:pt>
                <c:pt idx="74">
                  <c:v>0</c:v>
                </c:pt>
                <c:pt idx="75">
                  <c:v>0</c:v>
                </c:pt>
                <c:pt idx="76">
                  <c:v>6.6735813081228716</c:v>
                </c:pt>
                <c:pt idx="77">
                  <c:v>8.4190832553788592E-2</c:v>
                </c:pt>
                <c:pt idx="78">
                  <c:v>0.15608959402706479</c:v>
                </c:pt>
                <c:pt idx="79">
                  <c:v>0</c:v>
                </c:pt>
                <c:pt idx="80">
                  <c:v>0</c:v>
                </c:pt>
                <c:pt idx="81">
                  <c:v>4.2928911239096292E-2</c:v>
                </c:pt>
                <c:pt idx="82">
                  <c:v>4.9114348672794912E-2</c:v>
                </c:pt>
                <c:pt idx="83">
                  <c:v>2.389419490227571E-2</c:v>
                </c:pt>
                <c:pt idx="84">
                  <c:v>3.4681866912813802E-2</c:v>
                </c:pt>
                <c:pt idx="85">
                  <c:v>2.5666582684389171E-2</c:v>
                </c:pt>
                <c:pt idx="86">
                  <c:v>3.2344375495060432E-2</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6.3668380332690564</c:v>
                </c:pt>
                <c:pt idx="104">
                  <c:v>0</c:v>
                </c:pt>
                <c:pt idx="105">
                  <c:v>0</c:v>
                </c:pt>
                <c:pt idx="106">
                  <c:v>0</c:v>
                </c:pt>
                <c:pt idx="107">
                  <c:v>0</c:v>
                </c:pt>
                <c:pt idx="108">
                  <c:v>0</c:v>
                </c:pt>
                <c:pt idx="109">
                  <c:v>0</c:v>
                </c:pt>
                <c:pt idx="110">
                  <c:v>0</c:v>
                </c:pt>
                <c:pt idx="111">
                  <c:v>0</c:v>
                </c:pt>
                <c:pt idx="112">
                  <c:v>0</c:v>
                </c:pt>
                <c:pt idx="113">
                  <c:v>0</c:v>
                </c:pt>
                <c:pt idx="114">
                  <c:v>0.118202886940101</c:v>
                </c:pt>
                <c:pt idx="115">
                  <c:v>9.6100644010672305</c:v>
                </c:pt>
                <c:pt idx="116">
                  <c:v>0</c:v>
                </c:pt>
                <c:pt idx="117">
                  <c:v>0.1075739850080159</c:v>
                </c:pt>
                <c:pt idx="118">
                  <c:v>0.12924172747363891</c:v>
                </c:pt>
                <c:pt idx="119">
                  <c:v>8.9179428686614243E-2</c:v>
                </c:pt>
                <c:pt idx="120">
                  <c:v>1.8823908838789379E-2</c:v>
                </c:pt>
                <c:pt idx="121">
                  <c:v>4.4997333996871877E-2</c:v>
                </c:pt>
                <c:pt idx="122">
                  <c:v>1.5174586903428671E-2</c:v>
                </c:pt>
                <c:pt idx="123">
                  <c:v>6.8489152641307519E-2</c:v>
                </c:pt>
                <c:pt idx="124">
                  <c:v>1.1495774739492599E-2</c:v>
                </c:pt>
                <c:pt idx="125">
                  <c:v>0.61343300703579084</c:v>
                </c:pt>
                <c:pt idx="126">
                  <c:v>0.35530624225425611</c:v>
                </c:pt>
                <c:pt idx="127">
                  <c:v>0</c:v>
                </c:pt>
                <c:pt idx="128">
                  <c:v>1.511465339210143E-2</c:v>
                </c:pt>
                <c:pt idx="129">
                  <c:v>0.2705585221532689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2.4"/>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2</c:f>
              <c:numCache>
                <c:formatCode>General</c:formatCode>
                <c:ptCount val="21"/>
                <c:pt idx="0">
                  <c:v>0.25</c:v>
                </c:pt>
                <c:pt idx="1">
                  <c:v>0.25</c:v>
                </c:pt>
                <c:pt idx="2">
                  <c:v>0.3</c:v>
                </c:pt>
                <c:pt idx="3">
                  <c:v>0.3</c:v>
                </c:pt>
                <c:pt idx="4">
                  <c:v>0.60000000000000009</c:v>
                </c:pt>
                <c:pt idx="5">
                  <c:v>0.65</c:v>
                </c:pt>
                <c:pt idx="6">
                  <c:v>0.05</c:v>
                </c:pt>
                <c:pt idx="7">
                  <c:v>0.05</c:v>
                </c:pt>
                <c:pt idx="8">
                  <c:v>0.25</c:v>
                </c:pt>
                <c:pt idx="9">
                  <c:v>0.3</c:v>
                </c:pt>
                <c:pt idx="10">
                  <c:v>0.1</c:v>
                </c:pt>
                <c:pt idx="11">
                  <c:v>0.05</c:v>
                </c:pt>
                <c:pt idx="12">
                  <c:v>0.1</c:v>
                </c:pt>
                <c:pt idx="13">
                  <c:v>0.1</c:v>
                </c:pt>
                <c:pt idx="14">
                  <c:v>0.1</c:v>
                </c:pt>
                <c:pt idx="15">
                  <c:v>0.1</c:v>
                </c:pt>
                <c:pt idx="16">
                  <c:v>0.1</c:v>
                </c:pt>
                <c:pt idx="17">
                  <c:v>0.1</c:v>
                </c:pt>
                <c:pt idx="18">
                  <c:v>0.1</c:v>
                </c:pt>
                <c:pt idx="19">
                  <c:v>0.1</c:v>
                </c:pt>
                <c:pt idx="20">
                  <c:v>0.1</c:v>
                </c:pt>
              </c:numCache>
            </c:numRef>
          </c:xVal>
          <c:yVal>
            <c:numRef>
              <c:f>Sheet1!$B$2:$B$22</c:f>
              <c:numCache>
                <c:formatCode>General</c:formatCode>
                <c:ptCount val="21"/>
                <c:pt idx="0">
                  <c:v>0</c:v>
                </c:pt>
                <c:pt idx="1">
                  <c:v>0</c:v>
                </c:pt>
                <c:pt idx="2">
                  <c:v>0</c:v>
                </c:pt>
                <c:pt idx="3">
                  <c:v>0</c:v>
                </c:pt>
                <c:pt idx="4">
                  <c:v>0</c:v>
                </c:pt>
                <c:pt idx="5">
                  <c:v>0</c:v>
                </c:pt>
                <c:pt idx="6">
                  <c:v>0</c:v>
                </c:pt>
                <c:pt idx="7">
                  <c:v>4.0487285410525882E-2</c:v>
                </c:pt>
                <c:pt idx="8">
                  <c:v>0.27296962627611893</c:v>
                </c:pt>
                <c:pt idx="9">
                  <c:v>0.17453825430309389</c:v>
                </c:pt>
                <c:pt idx="10">
                  <c:v>0</c:v>
                </c:pt>
                <c:pt idx="11">
                  <c:v>2.6039775730140859E-2</c:v>
                </c:pt>
                <c:pt idx="12">
                  <c:v>0.13263436918561239</c:v>
                </c:pt>
                <c:pt idx="13">
                  <c:v>0.13587093257650229</c:v>
                </c:pt>
                <c:pt idx="14">
                  <c:v>0.1014771618985696</c:v>
                </c:pt>
                <c:pt idx="15">
                  <c:v>0.22680211279878809</c:v>
                </c:pt>
                <c:pt idx="16">
                  <c:v>0.18786299617503269</c:v>
                </c:pt>
                <c:pt idx="17">
                  <c:v>0.13604560749668199</c:v>
                </c:pt>
                <c:pt idx="18">
                  <c:v>0.20910067712132019</c:v>
                </c:pt>
                <c:pt idx="19">
                  <c:v>0.16867160794838021</c:v>
                </c:pt>
                <c:pt idx="20">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2</c:f>
              <c:numCache>
                <c:formatCode>General</c:formatCode>
                <c:ptCount val="21"/>
                <c:pt idx="0">
                  <c:v>3</c:v>
                </c:pt>
                <c:pt idx="1">
                  <c:v>3</c:v>
                </c:pt>
                <c:pt idx="2">
                  <c:v>3</c:v>
                </c:pt>
                <c:pt idx="3">
                  <c:v>3</c:v>
                </c:pt>
                <c:pt idx="4">
                  <c:v>1.5</c:v>
                </c:pt>
                <c:pt idx="5">
                  <c:v>1.5</c:v>
                </c:pt>
                <c:pt idx="6">
                  <c:v>5.5</c:v>
                </c:pt>
                <c:pt idx="7">
                  <c:v>5.5</c:v>
                </c:pt>
                <c:pt idx="8">
                  <c:v>11.5</c:v>
                </c:pt>
                <c:pt idx="9">
                  <c:v>11</c:v>
                </c:pt>
                <c:pt idx="10">
                  <c:v>5.5</c:v>
                </c:pt>
                <c:pt idx="11">
                  <c:v>1</c:v>
                </c:pt>
                <c:pt idx="12">
                  <c:v>1</c:v>
                </c:pt>
                <c:pt idx="13">
                  <c:v>1</c:v>
                </c:pt>
                <c:pt idx="14">
                  <c:v>1</c:v>
                </c:pt>
                <c:pt idx="15">
                  <c:v>1</c:v>
                </c:pt>
                <c:pt idx="16">
                  <c:v>1</c:v>
                </c:pt>
                <c:pt idx="17">
                  <c:v>1</c:v>
                </c:pt>
                <c:pt idx="18">
                  <c:v>1</c:v>
                </c:pt>
                <c:pt idx="19">
                  <c:v>1</c:v>
                </c:pt>
                <c:pt idx="20">
                  <c:v>1</c:v>
                </c:pt>
              </c:numCache>
            </c:numRef>
          </c:xVal>
          <c:yVal>
            <c:numRef>
              <c:f>Sheet1!$B$2:$B$22</c:f>
              <c:numCache>
                <c:formatCode>General</c:formatCode>
                <c:ptCount val="21"/>
                <c:pt idx="0">
                  <c:v>0</c:v>
                </c:pt>
                <c:pt idx="1">
                  <c:v>0</c:v>
                </c:pt>
                <c:pt idx="2">
                  <c:v>0</c:v>
                </c:pt>
                <c:pt idx="3">
                  <c:v>0</c:v>
                </c:pt>
                <c:pt idx="4">
                  <c:v>0</c:v>
                </c:pt>
                <c:pt idx="5">
                  <c:v>0</c:v>
                </c:pt>
                <c:pt idx="6">
                  <c:v>0</c:v>
                </c:pt>
                <c:pt idx="7">
                  <c:v>4.0487285410525882E-2</c:v>
                </c:pt>
                <c:pt idx="8">
                  <c:v>0.27296962627611893</c:v>
                </c:pt>
                <c:pt idx="9">
                  <c:v>0.17453825430309389</c:v>
                </c:pt>
                <c:pt idx="10">
                  <c:v>0</c:v>
                </c:pt>
                <c:pt idx="11">
                  <c:v>2.6039775730140859E-2</c:v>
                </c:pt>
                <c:pt idx="12">
                  <c:v>0.13263436918561239</c:v>
                </c:pt>
                <c:pt idx="13">
                  <c:v>0.13587093257650229</c:v>
                </c:pt>
                <c:pt idx="14">
                  <c:v>0.1014771618985696</c:v>
                </c:pt>
                <c:pt idx="15">
                  <c:v>0.22680211279878809</c:v>
                </c:pt>
                <c:pt idx="16">
                  <c:v>0.18786299617503269</c:v>
                </c:pt>
                <c:pt idx="17">
                  <c:v>0.13604560749668199</c:v>
                </c:pt>
                <c:pt idx="18">
                  <c:v>0.20910067712132019</c:v>
                </c:pt>
                <c:pt idx="19">
                  <c:v>0.16867160794838021</c:v>
                </c:pt>
                <c:pt idx="20">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3.799999999999999"/>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0.15</c:v>
                </c:pt>
                <c:pt idx="1">
                  <c:v>0.05</c:v>
                </c:pt>
                <c:pt idx="2">
                  <c:v>0.2</c:v>
                </c:pt>
                <c:pt idx="3">
                  <c:v>0.4</c:v>
                </c:pt>
                <c:pt idx="4">
                  <c:v>0.4</c:v>
                </c:pt>
                <c:pt idx="5">
                  <c:v>0.45</c:v>
                </c:pt>
                <c:pt idx="6">
                  <c:v>0.60000000000000009</c:v>
                </c:pt>
                <c:pt idx="7">
                  <c:v>0.70000000000000007</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21.5</c:v>
                </c:pt>
                <c:pt idx="1">
                  <c:v>23.5</c:v>
                </c:pt>
                <c:pt idx="2">
                  <c:v>20</c:v>
                </c:pt>
                <c:pt idx="3">
                  <c:v>15</c:v>
                </c:pt>
                <c:pt idx="4">
                  <c:v>15</c:v>
                </c:pt>
                <c:pt idx="5">
                  <c:v>13.5</c:v>
                </c:pt>
                <c:pt idx="6">
                  <c:v>9.5</c:v>
                </c:pt>
                <c:pt idx="7">
                  <c:v>7.5</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2"/>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15</c:v>
                </c:pt>
                <c:pt idx="1">
                  <c:v>0.2</c:v>
                </c:pt>
                <c:pt idx="2">
                  <c:v>0.2</c:v>
                </c:pt>
                <c:pt idx="3">
                  <c:v>0.25</c:v>
                </c:pt>
                <c:pt idx="4">
                  <c:v>0.70000000000000007</c:v>
                </c:pt>
                <c:pt idx="5">
                  <c:v>0</c:v>
                </c:pt>
                <c:pt idx="6">
                  <c:v>0</c:v>
                </c:pt>
                <c:pt idx="7">
                  <c:v>0</c:v>
                </c:pt>
                <c:pt idx="8">
                  <c:v>0</c:v>
                </c:pt>
                <c:pt idx="9">
                  <c:v>0</c:v>
                </c:pt>
                <c:pt idx="10">
                  <c:v>0</c:v>
                </c:pt>
                <c:pt idx="11">
                  <c:v>0</c:v>
                </c:pt>
                <c:pt idx="12">
                  <c:v>0</c:v>
                </c:pt>
                <c:pt idx="13">
                  <c:v>0</c:v>
                </c:pt>
                <c:pt idx="14">
                  <c:v>0</c:v>
                </c:pt>
                <c:pt idx="15">
                  <c:v>0</c:v>
                </c:pt>
                <c:pt idx="16">
                  <c:v>0.70000000000000007</c:v>
                </c:pt>
                <c:pt idx="17">
                  <c:v>0</c:v>
                </c:pt>
                <c:pt idx="18">
                  <c:v>0</c:v>
                </c:pt>
                <c:pt idx="19">
                  <c:v>0</c:v>
                </c:pt>
                <c:pt idx="20">
                  <c:v>0</c:v>
                </c:pt>
                <c:pt idx="21">
                  <c:v>0</c:v>
                </c:pt>
                <c:pt idx="22">
                  <c:v>0</c:v>
                </c:pt>
                <c:pt idx="23">
                  <c:v>0</c:v>
                </c:pt>
                <c:pt idx="24">
                  <c:v>0</c:v>
                </c:pt>
                <c:pt idx="25">
                  <c:v>0</c:v>
                </c:pt>
                <c:pt idx="26">
                  <c:v>0</c:v>
                </c:pt>
                <c:pt idx="27">
                  <c:v>0</c:v>
                </c:pt>
                <c:pt idx="28">
                  <c:v>0.65</c:v>
                </c:pt>
              </c:numCache>
            </c:numRef>
          </c:xVal>
          <c:yVal>
            <c:numRef>
              <c:f>Sheet1!$B$2:$B$30</c:f>
              <c:numCache>
                <c:formatCode>General</c:formatCode>
                <c:ptCount val="29"/>
                <c:pt idx="0">
                  <c:v>6.7530926961531942E-2</c:v>
                </c:pt>
                <c:pt idx="1">
                  <c:v>1.42812303829253E-2</c:v>
                </c:pt>
                <c:pt idx="2">
                  <c:v>6.1371841155234648E-2</c:v>
                </c:pt>
                <c:pt idx="3">
                  <c:v>0.29048851105772189</c:v>
                </c:pt>
                <c:pt idx="4">
                  <c:v>0.2636570764832023</c:v>
                </c:pt>
                <c:pt idx="5">
                  <c:v>0</c:v>
                </c:pt>
                <c:pt idx="6">
                  <c:v>0</c:v>
                </c:pt>
                <c:pt idx="7">
                  <c:v>0</c:v>
                </c:pt>
                <c:pt idx="8">
                  <c:v>0</c:v>
                </c:pt>
                <c:pt idx="9">
                  <c:v>0</c:v>
                </c:pt>
                <c:pt idx="10">
                  <c:v>0</c:v>
                </c:pt>
                <c:pt idx="11">
                  <c:v>0</c:v>
                </c:pt>
                <c:pt idx="12">
                  <c:v>0</c:v>
                </c:pt>
                <c:pt idx="13">
                  <c:v>0</c:v>
                </c:pt>
                <c:pt idx="14">
                  <c:v>0</c:v>
                </c:pt>
                <c:pt idx="15">
                  <c:v>0</c:v>
                </c:pt>
                <c:pt idx="16">
                  <c:v>1.664441313454075</c:v>
                </c:pt>
                <c:pt idx="17">
                  <c:v>0</c:v>
                </c:pt>
                <c:pt idx="18">
                  <c:v>0</c:v>
                </c:pt>
                <c:pt idx="19">
                  <c:v>0</c:v>
                </c:pt>
                <c:pt idx="20">
                  <c:v>0</c:v>
                </c:pt>
                <c:pt idx="21">
                  <c:v>0</c:v>
                </c:pt>
                <c:pt idx="22">
                  <c:v>0</c:v>
                </c:pt>
                <c:pt idx="23">
                  <c:v>0</c:v>
                </c:pt>
                <c:pt idx="24">
                  <c:v>0</c:v>
                </c:pt>
                <c:pt idx="25">
                  <c:v>0</c:v>
                </c:pt>
                <c:pt idx="26">
                  <c:v>0</c:v>
                </c:pt>
                <c:pt idx="27">
                  <c:v>0</c:v>
                </c:pt>
                <c:pt idx="28">
                  <c:v>5.9169822980092587E-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4</c:v>
                </c:pt>
                <c:pt idx="2">
                  <c:v>12</c:v>
                </c:pt>
                <c:pt idx="3">
                  <c:v>11.5</c:v>
                </c:pt>
                <c:pt idx="4">
                  <c:v>4.5</c:v>
                </c:pt>
                <c:pt idx="5">
                  <c:v>15</c:v>
                </c:pt>
                <c:pt idx="6">
                  <c:v>15</c:v>
                </c:pt>
                <c:pt idx="7">
                  <c:v>15</c:v>
                </c:pt>
                <c:pt idx="8">
                  <c:v>15</c:v>
                </c:pt>
                <c:pt idx="9">
                  <c:v>15</c:v>
                </c:pt>
                <c:pt idx="10">
                  <c:v>15</c:v>
                </c:pt>
                <c:pt idx="11">
                  <c:v>15</c:v>
                </c:pt>
                <c:pt idx="12">
                  <c:v>15</c:v>
                </c:pt>
                <c:pt idx="13">
                  <c:v>15</c:v>
                </c:pt>
                <c:pt idx="14">
                  <c:v>15</c:v>
                </c:pt>
                <c:pt idx="15">
                  <c:v>15</c:v>
                </c:pt>
                <c:pt idx="16">
                  <c:v>4.5</c:v>
                </c:pt>
                <c:pt idx="17">
                  <c:v>15</c:v>
                </c:pt>
                <c:pt idx="18">
                  <c:v>15</c:v>
                </c:pt>
                <c:pt idx="19">
                  <c:v>15</c:v>
                </c:pt>
                <c:pt idx="20">
                  <c:v>15</c:v>
                </c:pt>
                <c:pt idx="21">
                  <c:v>15</c:v>
                </c:pt>
                <c:pt idx="22">
                  <c:v>15</c:v>
                </c:pt>
                <c:pt idx="23">
                  <c:v>15</c:v>
                </c:pt>
                <c:pt idx="24">
                  <c:v>15</c:v>
                </c:pt>
                <c:pt idx="25">
                  <c:v>15</c:v>
                </c:pt>
                <c:pt idx="26">
                  <c:v>15</c:v>
                </c:pt>
                <c:pt idx="27">
                  <c:v>15</c:v>
                </c:pt>
                <c:pt idx="28">
                  <c:v>5</c:v>
                </c:pt>
              </c:numCache>
            </c:numRef>
          </c:xVal>
          <c:yVal>
            <c:numRef>
              <c:f>Sheet1!$B$2:$B$30</c:f>
              <c:numCache>
                <c:formatCode>General</c:formatCode>
                <c:ptCount val="29"/>
                <c:pt idx="0">
                  <c:v>6.7530926961531942E-2</c:v>
                </c:pt>
                <c:pt idx="1">
                  <c:v>1.42812303829253E-2</c:v>
                </c:pt>
                <c:pt idx="2">
                  <c:v>6.1371841155234648E-2</c:v>
                </c:pt>
                <c:pt idx="3">
                  <c:v>0.29048851105772189</c:v>
                </c:pt>
                <c:pt idx="4">
                  <c:v>0.2636570764832023</c:v>
                </c:pt>
                <c:pt idx="5">
                  <c:v>0</c:v>
                </c:pt>
                <c:pt idx="6">
                  <c:v>0</c:v>
                </c:pt>
                <c:pt idx="7">
                  <c:v>0</c:v>
                </c:pt>
                <c:pt idx="8">
                  <c:v>0</c:v>
                </c:pt>
                <c:pt idx="9">
                  <c:v>0</c:v>
                </c:pt>
                <c:pt idx="10">
                  <c:v>0</c:v>
                </c:pt>
                <c:pt idx="11">
                  <c:v>0</c:v>
                </c:pt>
                <c:pt idx="12">
                  <c:v>0</c:v>
                </c:pt>
                <c:pt idx="13">
                  <c:v>0</c:v>
                </c:pt>
                <c:pt idx="14">
                  <c:v>0</c:v>
                </c:pt>
                <c:pt idx="15">
                  <c:v>0</c:v>
                </c:pt>
                <c:pt idx="16">
                  <c:v>1.664441313454075</c:v>
                </c:pt>
                <c:pt idx="17">
                  <c:v>0</c:v>
                </c:pt>
                <c:pt idx="18">
                  <c:v>0</c:v>
                </c:pt>
                <c:pt idx="19">
                  <c:v>0</c:v>
                </c:pt>
                <c:pt idx="20">
                  <c:v>0</c:v>
                </c:pt>
                <c:pt idx="21">
                  <c:v>0</c:v>
                </c:pt>
                <c:pt idx="22">
                  <c:v>0</c:v>
                </c:pt>
                <c:pt idx="23">
                  <c:v>0</c:v>
                </c:pt>
                <c:pt idx="24">
                  <c:v>0</c:v>
                </c:pt>
                <c:pt idx="25">
                  <c:v>0</c:v>
                </c:pt>
                <c:pt idx="26">
                  <c:v>0</c:v>
                </c:pt>
                <c:pt idx="27">
                  <c:v>0</c:v>
                </c:pt>
                <c:pt idx="28">
                  <c:v>5.9169822980092587E-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0.1</c:v>
                </c:pt>
                <c:pt idx="1">
                  <c:v>0.1</c:v>
                </c:pt>
                <c:pt idx="2">
                  <c:v>0.05</c:v>
                </c:pt>
                <c:pt idx="3">
                  <c:v>0.05</c:v>
                </c:pt>
                <c:pt idx="4">
                  <c:v>0.2</c:v>
                </c:pt>
                <c:pt idx="5">
                  <c:v>0.1</c:v>
                </c:pt>
                <c:pt idx="6">
                  <c:v>0.1</c:v>
                </c:pt>
                <c:pt idx="7">
                  <c:v>0.1</c:v>
                </c:pt>
                <c:pt idx="8">
                  <c:v>0.15</c:v>
                </c:pt>
                <c:pt idx="9">
                  <c:v>0.15</c:v>
                </c:pt>
                <c:pt idx="10">
                  <c:v>0.15</c:v>
                </c:pt>
                <c:pt idx="11">
                  <c:v>0.25</c:v>
                </c:pt>
                <c:pt idx="12">
                  <c:v>0.2</c:v>
                </c:pt>
                <c:pt idx="13">
                  <c:v>0.1</c:v>
                </c:pt>
                <c:pt idx="14">
                  <c:v>0</c:v>
                </c:pt>
                <c:pt idx="15">
                  <c:v>0</c:v>
                </c:pt>
                <c:pt idx="16">
                  <c:v>0</c:v>
                </c:pt>
                <c:pt idx="17">
                  <c:v>0</c:v>
                </c:pt>
                <c:pt idx="18">
                  <c:v>0</c:v>
                </c:pt>
                <c:pt idx="19">
                  <c:v>0.1</c:v>
                </c:pt>
                <c:pt idx="20">
                  <c:v>0.2</c:v>
                </c:pt>
                <c:pt idx="21">
                  <c:v>0.15</c:v>
                </c:pt>
                <c:pt idx="22">
                  <c:v>0.15</c:v>
                </c:pt>
                <c:pt idx="23">
                  <c:v>0.15</c:v>
                </c:pt>
                <c:pt idx="24">
                  <c:v>0.1</c:v>
                </c:pt>
                <c:pt idx="25">
                  <c:v>0.2</c:v>
                </c:pt>
                <c:pt idx="26">
                  <c:v>0.05</c:v>
                </c:pt>
                <c:pt idx="27">
                  <c:v>0.05</c:v>
                </c:pt>
                <c:pt idx="28">
                  <c:v>0.2</c:v>
                </c:pt>
                <c:pt idx="29">
                  <c:v>0.2</c:v>
                </c:pt>
                <c:pt idx="30">
                  <c:v>0.2</c:v>
                </c:pt>
                <c:pt idx="31">
                  <c:v>0.1</c:v>
                </c:pt>
                <c:pt idx="32">
                  <c:v>0</c:v>
                </c:pt>
                <c:pt idx="33">
                  <c:v>0</c:v>
                </c:pt>
                <c:pt idx="34">
                  <c:v>0</c:v>
                </c:pt>
                <c:pt idx="35">
                  <c:v>0.2</c:v>
                </c:pt>
                <c:pt idx="36">
                  <c:v>0.15</c:v>
                </c:pt>
                <c:pt idx="37">
                  <c:v>0.2</c:v>
                </c:pt>
                <c:pt idx="38">
                  <c:v>0.15</c:v>
                </c:pt>
                <c:pt idx="39">
                  <c:v>0.05</c:v>
                </c:pt>
                <c:pt idx="40">
                  <c:v>0.15</c:v>
                </c:pt>
                <c:pt idx="41">
                  <c:v>0.15</c:v>
                </c:pt>
                <c:pt idx="42">
                  <c:v>0.4</c:v>
                </c:pt>
                <c:pt idx="43">
                  <c:v>0.15</c:v>
                </c:pt>
                <c:pt idx="44">
                  <c:v>0.2</c:v>
                </c:pt>
                <c:pt idx="45">
                  <c:v>0.25</c:v>
                </c:pt>
                <c:pt idx="46">
                  <c:v>0.25</c:v>
                </c:pt>
                <c:pt idx="47">
                  <c:v>0.15</c:v>
                </c:pt>
                <c:pt idx="48">
                  <c:v>0.25</c:v>
                </c:pt>
                <c:pt idx="49">
                  <c:v>0.2</c:v>
                </c:pt>
                <c:pt idx="50">
                  <c:v>0.05</c:v>
                </c:pt>
                <c:pt idx="51">
                  <c:v>0.05</c:v>
                </c:pt>
                <c:pt idx="52">
                  <c:v>0.1</c:v>
                </c:pt>
                <c:pt idx="53">
                  <c:v>0.1</c:v>
                </c:pt>
                <c:pt idx="54">
                  <c:v>0.2</c:v>
                </c:pt>
                <c:pt idx="55">
                  <c:v>0.2</c:v>
                </c:pt>
                <c:pt idx="56">
                  <c:v>0.2</c:v>
                </c:pt>
                <c:pt idx="57">
                  <c:v>0.2</c:v>
                </c:pt>
                <c:pt idx="58">
                  <c:v>0.15</c:v>
                </c:pt>
                <c:pt idx="59">
                  <c:v>0.05</c:v>
                </c:pt>
                <c:pt idx="60">
                  <c:v>0.1</c:v>
                </c:pt>
                <c:pt idx="61">
                  <c:v>0.15</c:v>
                </c:pt>
                <c:pt idx="62">
                  <c:v>0.2</c:v>
                </c:pt>
                <c:pt idx="63">
                  <c:v>0.15</c:v>
                </c:pt>
                <c:pt idx="64">
                  <c:v>0</c:v>
                </c:pt>
                <c:pt idx="65">
                  <c:v>0</c:v>
                </c:pt>
                <c:pt idx="66">
                  <c:v>0</c:v>
                </c:pt>
                <c:pt idx="67">
                  <c:v>0</c:v>
                </c:pt>
                <c:pt idx="68">
                  <c:v>0</c:v>
                </c:pt>
                <c:pt idx="69">
                  <c:v>0.15</c:v>
                </c:pt>
                <c:pt idx="70">
                  <c:v>0.2</c:v>
                </c:pt>
                <c:pt idx="71">
                  <c:v>0.15</c:v>
                </c:pt>
                <c:pt idx="72">
                  <c:v>0.2</c:v>
                </c:pt>
                <c:pt idx="73">
                  <c:v>0.15</c:v>
                </c:pt>
                <c:pt idx="74">
                  <c:v>0.15</c:v>
                </c:pt>
                <c:pt idx="75">
                  <c:v>0.2</c:v>
                </c:pt>
                <c:pt idx="76">
                  <c:v>0.1</c:v>
                </c:pt>
                <c:pt idx="77">
                  <c:v>0.05</c:v>
                </c:pt>
                <c:pt idx="78">
                  <c:v>0.1</c:v>
                </c:pt>
                <c:pt idx="79">
                  <c:v>0.15</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23</c:v>
                </c:pt>
                <c:pt idx="1">
                  <c:v>23</c:v>
                </c:pt>
                <c:pt idx="2">
                  <c:v>23.5</c:v>
                </c:pt>
                <c:pt idx="3">
                  <c:v>24</c:v>
                </c:pt>
                <c:pt idx="4">
                  <c:v>19.5</c:v>
                </c:pt>
                <c:pt idx="5">
                  <c:v>19.5</c:v>
                </c:pt>
                <c:pt idx="6">
                  <c:v>19.5</c:v>
                </c:pt>
                <c:pt idx="7">
                  <c:v>19.5</c:v>
                </c:pt>
                <c:pt idx="8">
                  <c:v>21</c:v>
                </c:pt>
                <c:pt idx="9">
                  <c:v>21</c:v>
                </c:pt>
                <c:pt idx="10">
                  <c:v>20.5</c:v>
                </c:pt>
                <c:pt idx="11">
                  <c:v>19</c:v>
                </c:pt>
                <c:pt idx="12">
                  <c:v>19.5</c:v>
                </c:pt>
                <c:pt idx="13">
                  <c:v>22.5</c:v>
                </c:pt>
                <c:pt idx="14">
                  <c:v>22.5</c:v>
                </c:pt>
                <c:pt idx="15">
                  <c:v>22.5</c:v>
                </c:pt>
                <c:pt idx="16">
                  <c:v>22.5</c:v>
                </c:pt>
                <c:pt idx="17">
                  <c:v>22.5</c:v>
                </c:pt>
                <c:pt idx="18">
                  <c:v>22</c:v>
                </c:pt>
                <c:pt idx="19">
                  <c:v>20.5</c:v>
                </c:pt>
                <c:pt idx="20">
                  <c:v>19.5</c:v>
                </c:pt>
                <c:pt idx="21">
                  <c:v>19</c:v>
                </c:pt>
                <c:pt idx="22">
                  <c:v>18.5</c:v>
                </c:pt>
                <c:pt idx="23">
                  <c:v>19</c:v>
                </c:pt>
                <c:pt idx="24">
                  <c:v>20.5</c:v>
                </c:pt>
                <c:pt idx="25">
                  <c:v>20</c:v>
                </c:pt>
                <c:pt idx="26">
                  <c:v>21</c:v>
                </c:pt>
                <c:pt idx="27">
                  <c:v>21.5</c:v>
                </c:pt>
                <c:pt idx="28">
                  <c:v>18</c:v>
                </c:pt>
                <c:pt idx="29">
                  <c:v>18</c:v>
                </c:pt>
                <c:pt idx="30">
                  <c:v>18</c:v>
                </c:pt>
                <c:pt idx="31">
                  <c:v>19.5</c:v>
                </c:pt>
                <c:pt idx="32">
                  <c:v>22.5</c:v>
                </c:pt>
                <c:pt idx="33">
                  <c:v>22.5</c:v>
                </c:pt>
                <c:pt idx="34">
                  <c:v>22.5</c:v>
                </c:pt>
                <c:pt idx="35">
                  <c:v>19</c:v>
                </c:pt>
                <c:pt idx="36">
                  <c:v>20</c:v>
                </c:pt>
                <c:pt idx="37">
                  <c:v>16</c:v>
                </c:pt>
                <c:pt idx="38">
                  <c:v>20</c:v>
                </c:pt>
                <c:pt idx="39">
                  <c:v>21</c:v>
                </c:pt>
                <c:pt idx="40">
                  <c:v>21.5</c:v>
                </c:pt>
                <c:pt idx="41">
                  <c:v>20.5</c:v>
                </c:pt>
                <c:pt idx="42">
                  <c:v>15</c:v>
                </c:pt>
                <c:pt idx="43">
                  <c:v>21.5</c:v>
                </c:pt>
                <c:pt idx="44">
                  <c:v>21</c:v>
                </c:pt>
                <c:pt idx="45">
                  <c:v>20</c:v>
                </c:pt>
                <c:pt idx="46">
                  <c:v>20</c:v>
                </c:pt>
                <c:pt idx="47">
                  <c:v>21.5</c:v>
                </c:pt>
                <c:pt idx="48">
                  <c:v>15</c:v>
                </c:pt>
                <c:pt idx="49">
                  <c:v>16.5</c:v>
                </c:pt>
                <c:pt idx="50">
                  <c:v>19.5</c:v>
                </c:pt>
                <c:pt idx="51">
                  <c:v>19</c:v>
                </c:pt>
                <c:pt idx="52">
                  <c:v>18</c:v>
                </c:pt>
                <c:pt idx="53">
                  <c:v>18</c:v>
                </c:pt>
                <c:pt idx="54">
                  <c:v>16.5</c:v>
                </c:pt>
                <c:pt idx="55">
                  <c:v>16.5</c:v>
                </c:pt>
                <c:pt idx="56">
                  <c:v>16.5</c:v>
                </c:pt>
                <c:pt idx="57">
                  <c:v>16.5</c:v>
                </c:pt>
                <c:pt idx="58">
                  <c:v>17.5</c:v>
                </c:pt>
                <c:pt idx="59">
                  <c:v>19.5</c:v>
                </c:pt>
                <c:pt idx="60">
                  <c:v>18.5</c:v>
                </c:pt>
                <c:pt idx="61">
                  <c:v>17</c:v>
                </c:pt>
                <c:pt idx="62">
                  <c:v>16</c:v>
                </c:pt>
                <c:pt idx="63">
                  <c:v>17.5</c:v>
                </c:pt>
                <c:pt idx="64">
                  <c:v>20</c:v>
                </c:pt>
                <c:pt idx="65">
                  <c:v>20</c:v>
                </c:pt>
                <c:pt idx="66">
                  <c:v>20</c:v>
                </c:pt>
                <c:pt idx="67">
                  <c:v>20</c:v>
                </c:pt>
                <c:pt idx="68">
                  <c:v>20.5</c:v>
                </c:pt>
                <c:pt idx="69">
                  <c:v>17.5</c:v>
                </c:pt>
                <c:pt idx="70">
                  <c:v>16</c:v>
                </c:pt>
                <c:pt idx="71">
                  <c:v>17.5</c:v>
                </c:pt>
                <c:pt idx="72">
                  <c:v>16.5</c:v>
                </c:pt>
                <c:pt idx="73">
                  <c:v>16.5</c:v>
                </c:pt>
                <c:pt idx="74">
                  <c:v>16.5</c:v>
                </c:pt>
                <c:pt idx="75">
                  <c:v>16.5</c:v>
                </c:pt>
                <c:pt idx="76">
                  <c:v>18.5</c:v>
                </c:pt>
                <c:pt idx="77">
                  <c:v>19.5</c:v>
                </c:pt>
                <c:pt idx="78">
                  <c:v>18</c:v>
                </c:pt>
                <c:pt idx="79">
                  <c:v>17</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799999999999997"/>
          <c:min val="1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0</c:f>
              <c:numCache>
                <c:formatCode>General</c:formatCode>
                <c:ptCount val="79"/>
                <c:pt idx="0">
                  <c:v>0.65</c:v>
                </c:pt>
                <c:pt idx="1">
                  <c:v>0.65</c:v>
                </c:pt>
                <c:pt idx="2">
                  <c:v>0.15</c:v>
                </c:pt>
                <c:pt idx="3">
                  <c:v>0</c:v>
                </c:pt>
                <c:pt idx="4">
                  <c:v>0.05</c:v>
                </c:pt>
                <c:pt idx="5">
                  <c:v>0.1</c:v>
                </c:pt>
                <c:pt idx="6">
                  <c:v>0.05</c:v>
                </c:pt>
                <c:pt idx="7">
                  <c:v>0.1</c:v>
                </c:pt>
                <c:pt idx="8">
                  <c:v>0.05</c:v>
                </c:pt>
                <c:pt idx="9">
                  <c:v>0.60000000000000009</c:v>
                </c:pt>
                <c:pt idx="10">
                  <c:v>0.60000000000000009</c:v>
                </c:pt>
                <c:pt idx="11">
                  <c:v>0.15</c:v>
                </c:pt>
                <c:pt idx="12">
                  <c:v>0.1</c:v>
                </c:pt>
                <c:pt idx="13">
                  <c:v>0.15</c:v>
                </c:pt>
                <c:pt idx="14">
                  <c:v>0.1</c:v>
                </c:pt>
                <c:pt idx="15">
                  <c:v>0.1</c:v>
                </c:pt>
                <c:pt idx="16">
                  <c:v>0.1</c:v>
                </c:pt>
                <c:pt idx="17">
                  <c:v>0.1</c:v>
                </c:pt>
                <c:pt idx="18">
                  <c:v>0.1</c:v>
                </c:pt>
                <c:pt idx="19">
                  <c:v>0.1</c:v>
                </c:pt>
                <c:pt idx="20">
                  <c:v>0.1</c:v>
                </c:pt>
                <c:pt idx="21">
                  <c:v>0.1</c:v>
                </c:pt>
                <c:pt idx="22">
                  <c:v>0.1</c:v>
                </c:pt>
                <c:pt idx="23">
                  <c:v>0.5</c:v>
                </c:pt>
                <c:pt idx="24">
                  <c:v>0.55000000000000004</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05</c:v>
                </c:pt>
                <c:pt idx="52">
                  <c:v>0.1</c:v>
                </c:pt>
                <c:pt idx="53">
                  <c:v>0</c:v>
                </c:pt>
                <c:pt idx="54">
                  <c:v>0</c:v>
                </c:pt>
                <c:pt idx="55">
                  <c:v>0</c:v>
                </c:pt>
                <c:pt idx="56">
                  <c:v>0</c:v>
                </c:pt>
                <c:pt idx="57">
                  <c:v>0</c:v>
                </c:pt>
                <c:pt idx="58">
                  <c:v>0</c:v>
                </c:pt>
                <c:pt idx="59">
                  <c:v>0</c:v>
                </c:pt>
                <c:pt idx="60">
                  <c:v>0</c:v>
                </c:pt>
                <c:pt idx="61">
                  <c:v>0</c:v>
                </c:pt>
                <c:pt idx="62">
                  <c:v>0</c:v>
                </c:pt>
                <c:pt idx="63">
                  <c:v>0</c:v>
                </c:pt>
                <c:pt idx="64">
                  <c:v>0.3</c:v>
                </c:pt>
                <c:pt idx="65">
                  <c:v>0</c:v>
                </c:pt>
                <c:pt idx="66">
                  <c:v>0</c:v>
                </c:pt>
                <c:pt idx="67">
                  <c:v>0</c:v>
                </c:pt>
                <c:pt idx="68">
                  <c:v>0</c:v>
                </c:pt>
                <c:pt idx="69">
                  <c:v>0</c:v>
                </c:pt>
                <c:pt idx="70">
                  <c:v>0</c:v>
                </c:pt>
                <c:pt idx="71">
                  <c:v>0</c:v>
                </c:pt>
                <c:pt idx="72">
                  <c:v>0</c:v>
                </c:pt>
                <c:pt idx="73">
                  <c:v>0</c:v>
                </c:pt>
                <c:pt idx="74">
                  <c:v>0</c:v>
                </c:pt>
                <c:pt idx="75">
                  <c:v>0</c:v>
                </c:pt>
                <c:pt idx="76">
                  <c:v>0.4</c:v>
                </c:pt>
                <c:pt idx="77">
                  <c:v>0.35</c:v>
                </c:pt>
                <c:pt idx="78">
                  <c:v>0.4</c:v>
                </c:pt>
              </c:numCache>
            </c:numRef>
          </c:xVal>
          <c:yVal>
            <c:numRef>
              <c:f>Sheet1!$B$2:$B$80</c:f>
              <c:numCache>
                <c:formatCode>General</c:formatCode>
                <c:ptCount val="79"/>
                <c:pt idx="0">
                  <c:v>0.87388193202146691</c:v>
                </c:pt>
                <c:pt idx="1">
                  <c:v>0.40657113909393539</c:v>
                </c:pt>
                <c:pt idx="2">
                  <c:v>0</c:v>
                </c:pt>
                <c:pt idx="3">
                  <c:v>0</c:v>
                </c:pt>
                <c:pt idx="4">
                  <c:v>0</c:v>
                </c:pt>
                <c:pt idx="5">
                  <c:v>0</c:v>
                </c:pt>
                <c:pt idx="6">
                  <c:v>0</c:v>
                </c:pt>
                <c:pt idx="7">
                  <c:v>0</c:v>
                </c:pt>
                <c:pt idx="8">
                  <c:v>0</c:v>
                </c:pt>
                <c:pt idx="9">
                  <c:v>0.58664971314511916</c:v>
                </c:pt>
                <c:pt idx="10">
                  <c:v>0.53240658421394194</c:v>
                </c:pt>
                <c:pt idx="11">
                  <c:v>0</c:v>
                </c:pt>
                <c:pt idx="12">
                  <c:v>0</c:v>
                </c:pt>
                <c:pt idx="13">
                  <c:v>0</c:v>
                </c:pt>
                <c:pt idx="14">
                  <c:v>0</c:v>
                </c:pt>
                <c:pt idx="15">
                  <c:v>3.6064811690697382E-3</c:v>
                </c:pt>
                <c:pt idx="16">
                  <c:v>0.18428223887646261</c:v>
                </c:pt>
                <c:pt idx="17">
                  <c:v>4.4485855792578528E-2</c:v>
                </c:pt>
                <c:pt idx="18">
                  <c:v>1.074536469066999E-2</c:v>
                </c:pt>
                <c:pt idx="19">
                  <c:v>0</c:v>
                </c:pt>
                <c:pt idx="20">
                  <c:v>4.4286341356353787E-2</c:v>
                </c:pt>
                <c:pt idx="21">
                  <c:v>9.5030221921740862E-2</c:v>
                </c:pt>
                <c:pt idx="22">
                  <c:v>0.15755358841173461</c:v>
                </c:pt>
                <c:pt idx="23">
                  <c:v>0.66535516966160668</c:v>
                </c:pt>
                <c:pt idx="24">
                  <c:v>0.35411594345179648</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1.208548268238762E-2</c:v>
                </c:pt>
                <c:pt idx="52">
                  <c:v>1.9414048711613129E-2</c:v>
                </c:pt>
                <c:pt idx="53">
                  <c:v>0</c:v>
                </c:pt>
                <c:pt idx="54">
                  <c:v>0</c:v>
                </c:pt>
                <c:pt idx="55">
                  <c:v>0</c:v>
                </c:pt>
                <c:pt idx="56">
                  <c:v>0</c:v>
                </c:pt>
                <c:pt idx="57">
                  <c:v>0</c:v>
                </c:pt>
                <c:pt idx="58">
                  <c:v>0</c:v>
                </c:pt>
                <c:pt idx="59">
                  <c:v>0</c:v>
                </c:pt>
                <c:pt idx="60">
                  <c:v>0</c:v>
                </c:pt>
                <c:pt idx="61">
                  <c:v>0</c:v>
                </c:pt>
                <c:pt idx="62">
                  <c:v>0</c:v>
                </c:pt>
                <c:pt idx="63">
                  <c:v>0</c:v>
                </c:pt>
                <c:pt idx="64">
                  <c:v>7.0868639048581716</c:v>
                </c:pt>
                <c:pt idx="65">
                  <c:v>0</c:v>
                </c:pt>
                <c:pt idx="66">
                  <c:v>0</c:v>
                </c:pt>
                <c:pt idx="67">
                  <c:v>0</c:v>
                </c:pt>
                <c:pt idx="68">
                  <c:v>0</c:v>
                </c:pt>
                <c:pt idx="69">
                  <c:v>0</c:v>
                </c:pt>
                <c:pt idx="70">
                  <c:v>0</c:v>
                </c:pt>
                <c:pt idx="71">
                  <c:v>0</c:v>
                </c:pt>
                <c:pt idx="72">
                  <c:v>0</c:v>
                </c:pt>
                <c:pt idx="73">
                  <c:v>0</c:v>
                </c:pt>
                <c:pt idx="74">
                  <c:v>0</c:v>
                </c:pt>
                <c:pt idx="75">
                  <c:v>0</c:v>
                </c:pt>
                <c:pt idx="76">
                  <c:v>6.6735813081228716</c:v>
                </c:pt>
                <c:pt idx="77">
                  <c:v>8.4190832553788592E-2</c:v>
                </c:pt>
                <c:pt idx="78">
                  <c:v>0.156089594027064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0</c:f>
              <c:numCache>
                <c:formatCode>General</c:formatCode>
                <c:ptCount val="79"/>
                <c:pt idx="0">
                  <c:v>5</c:v>
                </c:pt>
                <c:pt idx="1">
                  <c:v>4.5</c:v>
                </c:pt>
                <c:pt idx="2">
                  <c:v>8.5</c:v>
                </c:pt>
                <c:pt idx="3">
                  <c:v>10</c:v>
                </c:pt>
                <c:pt idx="4">
                  <c:v>9.5</c:v>
                </c:pt>
                <c:pt idx="5">
                  <c:v>9</c:v>
                </c:pt>
                <c:pt idx="6">
                  <c:v>9.5</c:v>
                </c:pt>
                <c:pt idx="7">
                  <c:v>9</c:v>
                </c:pt>
                <c:pt idx="8">
                  <c:v>9.5</c:v>
                </c:pt>
                <c:pt idx="9">
                  <c:v>4</c:v>
                </c:pt>
                <c:pt idx="10">
                  <c:v>4</c:v>
                </c:pt>
                <c:pt idx="11">
                  <c:v>8.5</c:v>
                </c:pt>
                <c:pt idx="12">
                  <c:v>8.5</c:v>
                </c:pt>
                <c:pt idx="13">
                  <c:v>8.5</c:v>
                </c:pt>
                <c:pt idx="14">
                  <c:v>9</c:v>
                </c:pt>
                <c:pt idx="15">
                  <c:v>27</c:v>
                </c:pt>
                <c:pt idx="16">
                  <c:v>27</c:v>
                </c:pt>
                <c:pt idx="17">
                  <c:v>27</c:v>
                </c:pt>
                <c:pt idx="18">
                  <c:v>27</c:v>
                </c:pt>
                <c:pt idx="19">
                  <c:v>24.5</c:v>
                </c:pt>
                <c:pt idx="20">
                  <c:v>24</c:v>
                </c:pt>
                <c:pt idx="21">
                  <c:v>24.5</c:v>
                </c:pt>
                <c:pt idx="22">
                  <c:v>24</c:v>
                </c:pt>
                <c:pt idx="23">
                  <c:v>6.5</c:v>
                </c:pt>
                <c:pt idx="24">
                  <c:v>6</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5</c:v>
                </c:pt>
                <c:pt idx="39">
                  <c:v>15</c:v>
                </c:pt>
                <c:pt idx="40">
                  <c:v>15</c:v>
                </c:pt>
                <c:pt idx="41">
                  <c:v>15</c:v>
                </c:pt>
                <c:pt idx="42">
                  <c:v>15</c:v>
                </c:pt>
                <c:pt idx="43">
                  <c:v>15</c:v>
                </c:pt>
                <c:pt idx="44">
                  <c:v>15</c:v>
                </c:pt>
                <c:pt idx="45">
                  <c:v>15</c:v>
                </c:pt>
                <c:pt idx="46">
                  <c:v>15</c:v>
                </c:pt>
                <c:pt idx="47">
                  <c:v>15</c:v>
                </c:pt>
                <c:pt idx="48">
                  <c:v>15</c:v>
                </c:pt>
                <c:pt idx="49">
                  <c:v>15</c:v>
                </c:pt>
                <c:pt idx="50">
                  <c:v>15</c:v>
                </c:pt>
                <c:pt idx="51">
                  <c:v>14</c:v>
                </c:pt>
                <c:pt idx="52">
                  <c:v>13.5</c:v>
                </c:pt>
                <c:pt idx="53">
                  <c:v>10</c:v>
                </c:pt>
                <c:pt idx="54">
                  <c:v>10</c:v>
                </c:pt>
                <c:pt idx="55">
                  <c:v>10</c:v>
                </c:pt>
                <c:pt idx="56">
                  <c:v>10</c:v>
                </c:pt>
                <c:pt idx="57">
                  <c:v>10</c:v>
                </c:pt>
                <c:pt idx="58">
                  <c:v>10</c:v>
                </c:pt>
                <c:pt idx="59">
                  <c:v>10</c:v>
                </c:pt>
                <c:pt idx="60">
                  <c:v>10</c:v>
                </c:pt>
                <c:pt idx="61">
                  <c:v>10</c:v>
                </c:pt>
                <c:pt idx="62">
                  <c:v>10</c:v>
                </c:pt>
                <c:pt idx="63">
                  <c:v>10</c:v>
                </c:pt>
                <c:pt idx="64">
                  <c:v>7</c:v>
                </c:pt>
                <c:pt idx="65">
                  <c:v>10</c:v>
                </c:pt>
                <c:pt idx="66">
                  <c:v>10</c:v>
                </c:pt>
                <c:pt idx="67">
                  <c:v>10</c:v>
                </c:pt>
                <c:pt idx="68">
                  <c:v>10</c:v>
                </c:pt>
                <c:pt idx="69">
                  <c:v>10</c:v>
                </c:pt>
                <c:pt idx="70">
                  <c:v>10</c:v>
                </c:pt>
                <c:pt idx="71">
                  <c:v>10</c:v>
                </c:pt>
                <c:pt idx="72">
                  <c:v>10</c:v>
                </c:pt>
                <c:pt idx="73">
                  <c:v>10</c:v>
                </c:pt>
                <c:pt idx="74">
                  <c:v>10</c:v>
                </c:pt>
                <c:pt idx="75">
                  <c:v>10</c:v>
                </c:pt>
                <c:pt idx="76">
                  <c:v>6</c:v>
                </c:pt>
                <c:pt idx="77">
                  <c:v>6.5</c:v>
                </c:pt>
                <c:pt idx="78">
                  <c:v>6</c:v>
                </c:pt>
              </c:numCache>
            </c:numRef>
          </c:xVal>
          <c:yVal>
            <c:numRef>
              <c:f>Sheet1!$B$2:$B$80</c:f>
              <c:numCache>
                <c:formatCode>General</c:formatCode>
                <c:ptCount val="79"/>
                <c:pt idx="0">
                  <c:v>0.87388193202146691</c:v>
                </c:pt>
                <c:pt idx="1">
                  <c:v>0.40657113909393539</c:v>
                </c:pt>
                <c:pt idx="2">
                  <c:v>0</c:v>
                </c:pt>
                <c:pt idx="3">
                  <c:v>0</c:v>
                </c:pt>
                <c:pt idx="4">
                  <c:v>0</c:v>
                </c:pt>
                <c:pt idx="5">
                  <c:v>0</c:v>
                </c:pt>
                <c:pt idx="6">
                  <c:v>0</c:v>
                </c:pt>
                <c:pt idx="7">
                  <c:v>0</c:v>
                </c:pt>
                <c:pt idx="8">
                  <c:v>0</c:v>
                </c:pt>
                <c:pt idx="9">
                  <c:v>0.58664971314511916</c:v>
                </c:pt>
                <c:pt idx="10">
                  <c:v>0.53240658421394194</c:v>
                </c:pt>
                <c:pt idx="11">
                  <c:v>0</c:v>
                </c:pt>
                <c:pt idx="12">
                  <c:v>0</c:v>
                </c:pt>
                <c:pt idx="13">
                  <c:v>0</c:v>
                </c:pt>
                <c:pt idx="14">
                  <c:v>0</c:v>
                </c:pt>
                <c:pt idx="15">
                  <c:v>3.6064811690697382E-3</c:v>
                </c:pt>
                <c:pt idx="16">
                  <c:v>0.18428223887646261</c:v>
                </c:pt>
                <c:pt idx="17">
                  <c:v>4.4485855792578528E-2</c:v>
                </c:pt>
                <c:pt idx="18">
                  <c:v>1.074536469066999E-2</c:v>
                </c:pt>
                <c:pt idx="19">
                  <c:v>0</c:v>
                </c:pt>
                <c:pt idx="20">
                  <c:v>4.4286341356353787E-2</c:v>
                </c:pt>
                <c:pt idx="21">
                  <c:v>9.5030221921740862E-2</c:v>
                </c:pt>
                <c:pt idx="22">
                  <c:v>0.15755358841173461</c:v>
                </c:pt>
                <c:pt idx="23">
                  <c:v>0.66535516966160668</c:v>
                </c:pt>
                <c:pt idx="24">
                  <c:v>0.35411594345179648</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1.208548268238762E-2</c:v>
                </c:pt>
                <c:pt idx="52">
                  <c:v>1.9414048711613129E-2</c:v>
                </c:pt>
                <c:pt idx="53">
                  <c:v>0</c:v>
                </c:pt>
                <c:pt idx="54">
                  <c:v>0</c:v>
                </c:pt>
                <c:pt idx="55">
                  <c:v>0</c:v>
                </c:pt>
                <c:pt idx="56">
                  <c:v>0</c:v>
                </c:pt>
                <c:pt idx="57">
                  <c:v>0</c:v>
                </c:pt>
                <c:pt idx="58">
                  <c:v>0</c:v>
                </c:pt>
                <c:pt idx="59">
                  <c:v>0</c:v>
                </c:pt>
                <c:pt idx="60">
                  <c:v>0</c:v>
                </c:pt>
                <c:pt idx="61">
                  <c:v>0</c:v>
                </c:pt>
                <c:pt idx="62">
                  <c:v>0</c:v>
                </c:pt>
                <c:pt idx="63">
                  <c:v>0</c:v>
                </c:pt>
                <c:pt idx="64">
                  <c:v>7.0868639048581716</c:v>
                </c:pt>
                <c:pt idx="65">
                  <c:v>0</c:v>
                </c:pt>
                <c:pt idx="66">
                  <c:v>0</c:v>
                </c:pt>
                <c:pt idx="67">
                  <c:v>0</c:v>
                </c:pt>
                <c:pt idx="68">
                  <c:v>0</c:v>
                </c:pt>
                <c:pt idx="69">
                  <c:v>0</c:v>
                </c:pt>
                <c:pt idx="70">
                  <c:v>0</c:v>
                </c:pt>
                <c:pt idx="71">
                  <c:v>0</c:v>
                </c:pt>
                <c:pt idx="72">
                  <c:v>0</c:v>
                </c:pt>
                <c:pt idx="73">
                  <c:v>0</c:v>
                </c:pt>
                <c:pt idx="74">
                  <c:v>0</c:v>
                </c:pt>
                <c:pt idx="75">
                  <c:v>0</c:v>
                </c:pt>
                <c:pt idx="76">
                  <c:v>6.6735813081228716</c:v>
                </c:pt>
                <c:pt idx="77">
                  <c:v>8.4190832553788592E-2</c:v>
                </c:pt>
                <c:pt idx="78">
                  <c:v>0.156089594027064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2.4"/>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2</c:f>
              <c:numCache>
                <c:formatCode>General</c:formatCode>
                <c:ptCount val="51"/>
                <c:pt idx="0">
                  <c:v>0.05</c:v>
                </c:pt>
                <c:pt idx="1">
                  <c:v>0.05</c:v>
                </c:pt>
                <c:pt idx="2">
                  <c:v>0.1</c:v>
                </c:pt>
                <c:pt idx="3">
                  <c:v>0.1</c:v>
                </c:pt>
                <c:pt idx="4">
                  <c:v>0.1</c:v>
                </c:pt>
                <c:pt idx="5">
                  <c:v>0.1</c:v>
                </c:pt>
                <c:pt idx="6">
                  <c:v>0.1</c:v>
                </c:pt>
                <c:pt idx="7">
                  <c:v>0.05</c:v>
                </c:pt>
                <c:pt idx="8">
                  <c:v>0.05</c:v>
                </c:pt>
                <c:pt idx="9">
                  <c:v>0.05</c:v>
                </c:pt>
                <c:pt idx="10">
                  <c:v>0.05</c:v>
                </c:pt>
                <c:pt idx="11">
                  <c:v>0.05</c:v>
                </c:pt>
                <c:pt idx="12">
                  <c:v>0</c:v>
                </c:pt>
                <c:pt idx="13">
                  <c:v>0</c:v>
                </c:pt>
                <c:pt idx="14">
                  <c:v>0</c:v>
                </c:pt>
                <c:pt idx="15">
                  <c:v>0</c:v>
                </c:pt>
                <c:pt idx="16">
                  <c:v>0</c:v>
                </c:pt>
                <c:pt idx="17">
                  <c:v>0</c:v>
                </c:pt>
                <c:pt idx="18">
                  <c:v>0</c:v>
                </c:pt>
                <c:pt idx="19">
                  <c:v>0</c:v>
                </c:pt>
                <c:pt idx="20">
                  <c:v>0</c:v>
                </c:pt>
                <c:pt idx="21">
                  <c:v>0</c:v>
                </c:pt>
                <c:pt idx="22">
                  <c:v>0</c:v>
                </c:pt>
                <c:pt idx="23">
                  <c:v>0</c:v>
                </c:pt>
                <c:pt idx="24">
                  <c:v>0.3</c:v>
                </c:pt>
                <c:pt idx="25">
                  <c:v>0</c:v>
                </c:pt>
                <c:pt idx="26">
                  <c:v>0</c:v>
                </c:pt>
                <c:pt idx="27">
                  <c:v>0</c:v>
                </c:pt>
                <c:pt idx="28">
                  <c:v>0</c:v>
                </c:pt>
                <c:pt idx="29">
                  <c:v>0</c:v>
                </c:pt>
                <c:pt idx="30">
                  <c:v>0</c:v>
                </c:pt>
                <c:pt idx="31">
                  <c:v>0</c:v>
                </c:pt>
                <c:pt idx="32">
                  <c:v>0</c:v>
                </c:pt>
                <c:pt idx="33">
                  <c:v>0</c:v>
                </c:pt>
                <c:pt idx="34">
                  <c:v>0</c:v>
                </c:pt>
                <c:pt idx="35">
                  <c:v>0</c:v>
                </c:pt>
                <c:pt idx="36">
                  <c:v>0.4</c:v>
                </c:pt>
                <c:pt idx="37">
                  <c:v>0.1</c:v>
                </c:pt>
                <c:pt idx="38">
                  <c:v>0.1</c:v>
                </c:pt>
                <c:pt idx="39">
                  <c:v>0.1</c:v>
                </c:pt>
                <c:pt idx="40">
                  <c:v>0.1</c:v>
                </c:pt>
                <c:pt idx="41">
                  <c:v>0.1</c:v>
                </c:pt>
                <c:pt idx="42">
                  <c:v>0.1</c:v>
                </c:pt>
                <c:pt idx="43">
                  <c:v>0.1</c:v>
                </c:pt>
                <c:pt idx="44">
                  <c:v>0.1</c:v>
                </c:pt>
                <c:pt idx="45">
                  <c:v>0.1</c:v>
                </c:pt>
                <c:pt idx="46">
                  <c:v>0.55000000000000004</c:v>
                </c:pt>
                <c:pt idx="47">
                  <c:v>0.5</c:v>
                </c:pt>
                <c:pt idx="48">
                  <c:v>0.1</c:v>
                </c:pt>
                <c:pt idx="49">
                  <c:v>0.1</c:v>
                </c:pt>
                <c:pt idx="50">
                  <c:v>0.55000000000000004</c:v>
                </c:pt>
              </c:numCache>
            </c:numRef>
          </c:xVal>
          <c:yVal>
            <c:numRef>
              <c:f>Sheet1!$B$2:$B$52</c:f>
              <c:numCache>
                <c:formatCode>General</c:formatCode>
                <c:ptCount val="51"/>
                <c:pt idx="0">
                  <c:v>0</c:v>
                </c:pt>
                <c:pt idx="1">
                  <c:v>0</c:v>
                </c:pt>
                <c:pt idx="2">
                  <c:v>4.2928911239096292E-2</c:v>
                </c:pt>
                <c:pt idx="3">
                  <c:v>4.9114348672794912E-2</c:v>
                </c:pt>
                <c:pt idx="4">
                  <c:v>2.389419490227571E-2</c:v>
                </c:pt>
                <c:pt idx="5">
                  <c:v>3.4681866912813802E-2</c:v>
                </c:pt>
                <c:pt idx="6">
                  <c:v>2.5666582684389171E-2</c:v>
                </c:pt>
                <c:pt idx="7">
                  <c:v>3.2344375495060432E-2</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6.3668380332690564</c:v>
                </c:pt>
                <c:pt idx="25">
                  <c:v>0</c:v>
                </c:pt>
                <c:pt idx="26">
                  <c:v>0</c:v>
                </c:pt>
                <c:pt idx="27">
                  <c:v>0</c:v>
                </c:pt>
                <c:pt idx="28">
                  <c:v>0</c:v>
                </c:pt>
                <c:pt idx="29">
                  <c:v>0</c:v>
                </c:pt>
                <c:pt idx="30">
                  <c:v>0</c:v>
                </c:pt>
                <c:pt idx="31">
                  <c:v>0</c:v>
                </c:pt>
                <c:pt idx="32">
                  <c:v>0</c:v>
                </c:pt>
                <c:pt idx="33">
                  <c:v>0</c:v>
                </c:pt>
                <c:pt idx="34">
                  <c:v>0</c:v>
                </c:pt>
                <c:pt idx="35">
                  <c:v>0.118202886940101</c:v>
                </c:pt>
                <c:pt idx="36">
                  <c:v>9.6100644010672305</c:v>
                </c:pt>
                <c:pt idx="37">
                  <c:v>0</c:v>
                </c:pt>
                <c:pt idx="38">
                  <c:v>0.1075739850080159</c:v>
                </c:pt>
                <c:pt idx="39">
                  <c:v>0.12924172747363891</c:v>
                </c:pt>
                <c:pt idx="40">
                  <c:v>8.9179428686614243E-2</c:v>
                </c:pt>
                <c:pt idx="41">
                  <c:v>1.8823908838789379E-2</c:v>
                </c:pt>
                <c:pt idx="42">
                  <c:v>4.4997333996871877E-2</c:v>
                </c:pt>
                <c:pt idx="43">
                  <c:v>1.5174586903428671E-2</c:v>
                </c:pt>
                <c:pt idx="44">
                  <c:v>6.8489152641307519E-2</c:v>
                </c:pt>
                <c:pt idx="45">
                  <c:v>1.1495774739492599E-2</c:v>
                </c:pt>
                <c:pt idx="46">
                  <c:v>0.61343300703579084</c:v>
                </c:pt>
                <c:pt idx="47">
                  <c:v>0.35530624225425611</c:v>
                </c:pt>
                <c:pt idx="48">
                  <c:v>0</c:v>
                </c:pt>
                <c:pt idx="49">
                  <c:v>1.511465339210143E-2</c:v>
                </c:pt>
                <c:pt idx="50">
                  <c:v>0.2705585221532689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2</c:f>
              <c:numCache>
                <c:formatCode>General</c:formatCode>
                <c:ptCount val="51"/>
                <c:pt idx="0">
                  <c:v>6</c:v>
                </c:pt>
                <c:pt idx="1">
                  <c:v>6</c:v>
                </c:pt>
                <c:pt idx="2">
                  <c:v>6</c:v>
                </c:pt>
                <c:pt idx="3">
                  <c:v>6</c:v>
                </c:pt>
                <c:pt idx="4">
                  <c:v>6</c:v>
                </c:pt>
                <c:pt idx="5">
                  <c:v>6</c:v>
                </c:pt>
                <c:pt idx="6">
                  <c:v>6</c:v>
                </c:pt>
                <c:pt idx="7">
                  <c:v>6</c:v>
                </c:pt>
                <c:pt idx="8">
                  <c:v>6.5</c:v>
                </c:pt>
                <c:pt idx="9">
                  <c:v>6</c:v>
                </c:pt>
                <c:pt idx="10">
                  <c:v>14.5</c:v>
                </c:pt>
                <c:pt idx="11">
                  <c:v>10</c:v>
                </c:pt>
                <c:pt idx="12">
                  <c:v>11</c:v>
                </c:pt>
                <c:pt idx="13">
                  <c:v>10</c:v>
                </c:pt>
                <c:pt idx="14">
                  <c:v>10</c:v>
                </c:pt>
                <c:pt idx="15">
                  <c:v>10</c:v>
                </c:pt>
                <c:pt idx="16">
                  <c:v>10</c:v>
                </c:pt>
                <c:pt idx="17">
                  <c:v>10</c:v>
                </c:pt>
                <c:pt idx="18">
                  <c:v>10</c:v>
                </c:pt>
                <c:pt idx="19">
                  <c:v>10</c:v>
                </c:pt>
                <c:pt idx="20">
                  <c:v>10</c:v>
                </c:pt>
                <c:pt idx="21">
                  <c:v>10</c:v>
                </c:pt>
                <c:pt idx="22">
                  <c:v>10</c:v>
                </c:pt>
                <c:pt idx="23">
                  <c:v>10</c:v>
                </c:pt>
                <c:pt idx="24">
                  <c:v>7</c:v>
                </c:pt>
                <c:pt idx="25">
                  <c:v>10</c:v>
                </c:pt>
                <c:pt idx="26">
                  <c:v>10</c:v>
                </c:pt>
                <c:pt idx="27">
                  <c:v>10</c:v>
                </c:pt>
                <c:pt idx="28">
                  <c:v>10</c:v>
                </c:pt>
                <c:pt idx="29">
                  <c:v>10</c:v>
                </c:pt>
                <c:pt idx="30">
                  <c:v>10</c:v>
                </c:pt>
                <c:pt idx="31">
                  <c:v>10</c:v>
                </c:pt>
                <c:pt idx="32">
                  <c:v>10</c:v>
                </c:pt>
                <c:pt idx="33">
                  <c:v>10</c:v>
                </c:pt>
                <c:pt idx="34">
                  <c:v>10</c:v>
                </c:pt>
                <c:pt idx="35">
                  <c:v>10</c:v>
                </c:pt>
                <c:pt idx="36">
                  <c:v>6</c:v>
                </c:pt>
                <c:pt idx="37">
                  <c:v>6</c:v>
                </c:pt>
                <c:pt idx="38">
                  <c:v>6</c:v>
                </c:pt>
                <c:pt idx="39">
                  <c:v>6</c:v>
                </c:pt>
                <c:pt idx="40">
                  <c:v>6</c:v>
                </c:pt>
                <c:pt idx="41">
                  <c:v>6</c:v>
                </c:pt>
                <c:pt idx="42">
                  <c:v>6</c:v>
                </c:pt>
                <c:pt idx="43">
                  <c:v>6</c:v>
                </c:pt>
                <c:pt idx="44">
                  <c:v>6</c:v>
                </c:pt>
                <c:pt idx="45">
                  <c:v>6</c:v>
                </c:pt>
                <c:pt idx="46">
                  <c:v>3</c:v>
                </c:pt>
                <c:pt idx="47">
                  <c:v>3</c:v>
                </c:pt>
                <c:pt idx="48">
                  <c:v>10</c:v>
                </c:pt>
                <c:pt idx="49">
                  <c:v>10</c:v>
                </c:pt>
                <c:pt idx="50">
                  <c:v>5</c:v>
                </c:pt>
              </c:numCache>
            </c:numRef>
          </c:xVal>
          <c:yVal>
            <c:numRef>
              <c:f>Sheet1!$B$2:$B$52</c:f>
              <c:numCache>
                <c:formatCode>General</c:formatCode>
                <c:ptCount val="51"/>
                <c:pt idx="0">
                  <c:v>0</c:v>
                </c:pt>
                <c:pt idx="1">
                  <c:v>0</c:v>
                </c:pt>
                <c:pt idx="2">
                  <c:v>4.2928911239096292E-2</c:v>
                </c:pt>
                <c:pt idx="3">
                  <c:v>4.9114348672794912E-2</c:v>
                </c:pt>
                <c:pt idx="4">
                  <c:v>2.389419490227571E-2</c:v>
                </c:pt>
                <c:pt idx="5">
                  <c:v>3.4681866912813802E-2</c:v>
                </c:pt>
                <c:pt idx="6">
                  <c:v>2.5666582684389171E-2</c:v>
                </c:pt>
                <c:pt idx="7">
                  <c:v>3.2344375495060432E-2</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6.3668380332690564</c:v>
                </c:pt>
                <c:pt idx="25">
                  <c:v>0</c:v>
                </c:pt>
                <c:pt idx="26">
                  <c:v>0</c:v>
                </c:pt>
                <c:pt idx="27">
                  <c:v>0</c:v>
                </c:pt>
                <c:pt idx="28">
                  <c:v>0</c:v>
                </c:pt>
                <c:pt idx="29">
                  <c:v>0</c:v>
                </c:pt>
                <c:pt idx="30">
                  <c:v>0</c:v>
                </c:pt>
                <c:pt idx="31">
                  <c:v>0</c:v>
                </c:pt>
                <c:pt idx="32">
                  <c:v>0</c:v>
                </c:pt>
                <c:pt idx="33">
                  <c:v>0</c:v>
                </c:pt>
                <c:pt idx="34">
                  <c:v>0</c:v>
                </c:pt>
                <c:pt idx="35">
                  <c:v>0.118202886940101</c:v>
                </c:pt>
                <c:pt idx="36">
                  <c:v>9.6100644010672305</c:v>
                </c:pt>
                <c:pt idx="37">
                  <c:v>0</c:v>
                </c:pt>
                <c:pt idx="38">
                  <c:v>0.1075739850080159</c:v>
                </c:pt>
                <c:pt idx="39">
                  <c:v>0.12924172747363891</c:v>
                </c:pt>
                <c:pt idx="40">
                  <c:v>8.9179428686614243E-2</c:v>
                </c:pt>
                <c:pt idx="41">
                  <c:v>1.8823908838789379E-2</c:v>
                </c:pt>
                <c:pt idx="42">
                  <c:v>4.4997333996871877E-2</c:v>
                </c:pt>
                <c:pt idx="43">
                  <c:v>1.5174586903428671E-2</c:v>
                </c:pt>
                <c:pt idx="44">
                  <c:v>6.8489152641307519E-2</c:v>
                </c:pt>
                <c:pt idx="45">
                  <c:v>1.1495774739492599E-2</c:v>
                </c:pt>
                <c:pt idx="46">
                  <c:v>0.61343300703579084</c:v>
                </c:pt>
                <c:pt idx="47">
                  <c:v>0.35530624225425611</c:v>
                </c:pt>
                <c:pt idx="48">
                  <c:v>0</c:v>
                </c:pt>
                <c:pt idx="49">
                  <c:v>1.511465339210143E-2</c:v>
                </c:pt>
                <c:pt idx="50">
                  <c:v>0.2705585221532689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c:f>
              <c:numCache>
                <c:formatCode>General</c:formatCode>
                <c:ptCount val="2"/>
                <c:pt idx="0">
                  <c:v>0.25</c:v>
                </c:pt>
                <c:pt idx="1">
                  <c:v>0.3</c:v>
                </c:pt>
              </c:numCache>
            </c:numRef>
          </c:xVal>
          <c:yVal>
            <c:numRef>
              <c:f>Sheet1!$B$2:$B$3</c:f>
              <c:numCache>
                <c:formatCode>General</c:formatCode>
                <c:ptCount val="2"/>
                <c:pt idx="0">
                  <c:v>0.27296962627611893</c:v>
                </c:pt>
                <c:pt idx="1">
                  <c:v>0.1745382543030938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1396306034424751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c:f>
              <c:numCache>
                <c:formatCode>General</c:formatCode>
                <c:ptCount val="2"/>
                <c:pt idx="0">
                  <c:v>11.5</c:v>
                </c:pt>
                <c:pt idx="1">
                  <c:v>11</c:v>
                </c:pt>
              </c:numCache>
            </c:numRef>
          </c:xVal>
          <c:yVal>
            <c:numRef>
              <c:f>Sheet1!$B$2:$B$3</c:f>
              <c:numCache>
                <c:formatCode>General</c:formatCode>
                <c:ptCount val="2"/>
                <c:pt idx="0">
                  <c:v>0.27296962627611893</c:v>
                </c:pt>
                <c:pt idx="1">
                  <c:v>0.1745382543030938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3.799999999999999"/>
          <c:min val="8.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1396306034424751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0</c:f>
              <c:numCache>
                <c:formatCode>General</c:formatCode>
                <c:ptCount val="19"/>
                <c:pt idx="0">
                  <c:v>0.25</c:v>
                </c:pt>
                <c:pt idx="1">
                  <c:v>0.25</c:v>
                </c:pt>
                <c:pt idx="2">
                  <c:v>0.3</c:v>
                </c:pt>
                <c:pt idx="3">
                  <c:v>0.3</c:v>
                </c:pt>
                <c:pt idx="4">
                  <c:v>0.60000000000000009</c:v>
                </c:pt>
                <c:pt idx="5">
                  <c:v>0.65</c:v>
                </c:pt>
                <c:pt idx="6">
                  <c:v>0.05</c:v>
                </c:pt>
                <c:pt idx="7">
                  <c:v>0.05</c:v>
                </c:pt>
                <c:pt idx="8">
                  <c:v>0.1</c:v>
                </c:pt>
                <c:pt idx="9">
                  <c:v>0.05</c:v>
                </c:pt>
                <c:pt idx="10">
                  <c:v>0.1</c:v>
                </c:pt>
                <c:pt idx="11">
                  <c:v>0.1</c:v>
                </c:pt>
                <c:pt idx="12">
                  <c:v>0.1</c:v>
                </c:pt>
                <c:pt idx="13">
                  <c:v>0.1</c:v>
                </c:pt>
                <c:pt idx="14">
                  <c:v>0.1</c:v>
                </c:pt>
                <c:pt idx="15">
                  <c:v>0.1</c:v>
                </c:pt>
                <c:pt idx="16">
                  <c:v>0.1</c:v>
                </c:pt>
                <c:pt idx="17">
                  <c:v>0.1</c:v>
                </c:pt>
                <c:pt idx="18">
                  <c:v>0.1</c:v>
                </c:pt>
              </c:numCache>
            </c:numRef>
          </c:xVal>
          <c:yVal>
            <c:numRef>
              <c:f>Sheet1!$B$2:$B$20</c:f>
              <c:numCache>
                <c:formatCode>General</c:formatCode>
                <c:ptCount val="19"/>
                <c:pt idx="0">
                  <c:v>0</c:v>
                </c:pt>
                <c:pt idx="1">
                  <c:v>0</c:v>
                </c:pt>
                <c:pt idx="2">
                  <c:v>0</c:v>
                </c:pt>
                <c:pt idx="3">
                  <c:v>0</c:v>
                </c:pt>
                <c:pt idx="4">
                  <c:v>0</c:v>
                </c:pt>
                <c:pt idx="5">
                  <c:v>0</c:v>
                </c:pt>
                <c:pt idx="6">
                  <c:v>0</c:v>
                </c:pt>
                <c:pt idx="7">
                  <c:v>4.0487285410525882E-2</c:v>
                </c:pt>
                <c:pt idx="8">
                  <c:v>0</c:v>
                </c:pt>
                <c:pt idx="9">
                  <c:v>2.6039775730140859E-2</c:v>
                </c:pt>
                <c:pt idx="10">
                  <c:v>0.13263436918561239</c:v>
                </c:pt>
                <c:pt idx="11">
                  <c:v>0.13587093257650229</c:v>
                </c:pt>
                <c:pt idx="12">
                  <c:v>0.1014771618985696</c:v>
                </c:pt>
                <c:pt idx="13">
                  <c:v>0.22680211279878809</c:v>
                </c:pt>
                <c:pt idx="14">
                  <c:v>0.18786299617503269</c:v>
                </c:pt>
                <c:pt idx="15">
                  <c:v>0.13604560749668199</c:v>
                </c:pt>
                <c:pt idx="16">
                  <c:v>0.20910067712132019</c:v>
                </c:pt>
                <c:pt idx="17">
                  <c:v>0.16867160794838021</c:v>
                </c:pt>
                <c:pt idx="18">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0</c:f>
              <c:numCache>
                <c:formatCode>General</c:formatCode>
                <c:ptCount val="19"/>
                <c:pt idx="0">
                  <c:v>3</c:v>
                </c:pt>
                <c:pt idx="1">
                  <c:v>3</c:v>
                </c:pt>
                <c:pt idx="2">
                  <c:v>3</c:v>
                </c:pt>
                <c:pt idx="3">
                  <c:v>3</c:v>
                </c:pt>
                <c:pt idx="4">
                  <c:v>1.5</c:v>
                </c:pt>
                <c:pt idx="5">
                  <c:v>1.5</c:v>
                </c:pt>
                <c:pt idx="6">
                  <c:v>5.5</c:v>
                </c:pt>
                <c:pt idx="7">
                  <c:v>5.5</c:v>
                </c:pt>
                <c:pt idx="8">
                  <c:v>5.5</c:v>
                </c:pt>
                <c:pt idx="9">
                  <c:v>1</c:v>
                </c:pt>
                <c:pt idx="10">
                  <c:v>1</c:v>
                </c:pt>
                <c:pt idx="11">
                  <c:v>1</c:v>
                </c:pt>
                <c:pt idx="12">
                  <c:v>1</c:v>
                </c:pt>
                <c:pt idx="13">
                  <c:v>1</c:v>
                </c:pt>
                <c:pt idx="14">
                  <c:v>1</c:v>
                </c:pt>
                <c:pt idx="15">
                  <c:v>1</c:v>
                </c:pt>
                <c:pt idx="16">
                  <c:v>1</c:v>
                </c:pt>
                <c:pt idx="17">
                  <c:v>1</c:v>
                </c:pt>
                <c:pt idx="18">
                  <c:v>1</c:v>
                </c:pt>
              </c:numCache>
            </c:numRef>
          </c:xVal>
          <c:yVal>
            <c:numRef>
              <c:f>Sheet1!$B$2:$B$20</c:f>
              <c:numCache>
                <c:formatCode>General</c:formatCode>
                <c:ptCount val="19"/>
                <c:pt idx="0">
                  <c:v>0</c:v>
                </c:pt>
                <c:pt idx="1">
                  <c:v>0</c:v>
                </c:pt>
                <c:pt idx="2">
                  <c:v>0</c:v>
                </c:pt>
                <c:pt idx="3">
                  <c:v>0</c:v>
                </c:pt>
                <c:pt idx="4">
                  <c:v>0</c:v>
                </c:pt>
                <c:pt idx="5">
                  <c:v>0</c:v>
                </c:pt>
                <c:pt idx="6">
                  <c:v>0</c:v>
                </c:pt>
                <c:pt idx="7">
                  <c:v>4.0487285410525882E-2</c:v>
                </c:pt>
                <c:pt idx="8">
                  <c:v>0</c:v>
                </c:pt>
                <c:pt idx="9">
                  <c:v>2.6039775730140859E-2</c:v>
                </c:pt>
                <c:pt idx="10">
                  <c:v>0.13263436918561239</c:v>
                </c:pt>
                <c:pt idx="11">
                  <c:v>0.13587093257650229</c:v>
                </c:pt>
                <c:pt idx="12">
                  <c:v>0.1014771618985696</c:v>
                </c:pt>
                <c:pt idx="13">
                  <c:v>0.22680211279878809</c:v>
                </c:pt>
                <c:pt idx="14">
                  <c:v>0.18786299617503269</c:v>
                </c:pt>
                <c:pt idx="15">
                  <c:v>0.13604560749668199</c:v>
                </c:pt>
                <c:pt idx="16">
                  <c:v>0.20910067712132019</c:v>
                </c:pt>
                <c:pt idx="17">
                  <c:v>0.16867160794838021</c:v>
                </c:pt>
                <c:pt idx="18">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6.6"/>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737E-2</c:v>
                </c:pt>
                <c:pt idx="1">
                  <c:v>-1.7983837495581523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0.15</c:v>
                </c:pt>
                <c:pt idx="1">
                  <c:v>0.05</c:v>
                </c:pt>
                <c:pt idx="2">
                  <c:v>0.2</c:v>
                </c:pt>
                <c:pt idx="3">
                  <c:v>0.4</c:v>
                </c:pt>
                <c:pt idx="4">
                  <c:v>0.4</c:v>
                </c:pt>
                <c:pt idx="5">
                  <c:v>0.45</c:v>
                </c:pt>
                <c:pt idx="6">
                  <c:v>0.60000000000000009</c:v>
                </c:pt>
                <c:pt idx="7">
                  <c:v>0.70000000000000007</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21.5</c:v>
                </c:pt>
                <c:pt idx="1">
                  <c:v>23.5</c:v>
                </c:pt>
                <c:pt idx="2">
                  <c:v>20</c:v>
                </c:pt>
                <c:pt idx="3">
                  <c:v>15</c:v>
                </c:pt>
                <c:pt idx="4">
                  <c:v>15</c:v>
                </c:pt>
                <c:pt idx="5">
                  <c:v>13.5</c:v>
                </c:pt>
                <c:pt idx="6">
                  <c:v>9.5</c:v>
                </c:pt>
                <c:pt idx="7">
                  <c:v>7.5</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2"/>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0.15</c:v>
                </c:pt>
                <c:pt idx="1">
                  <c:v>0.2</c:v>
                </c:pt>
                <c:pt idx="2">
                  <c:v>0.2</c:v>
                </c:pt>
                <c:pt idx="3">
                  <c:v>0.25</c:v>
                </c:pt>
                <c:pt idx="4">
                  <c:v>0.70000000000000007</c:v>
                </c:pt>
                <c:pt idx="5">
                  <c:v>0</c:v>
                </c:pt>
                <c:pt idx="6">
                  <c:v>0</c:v>
                </c:pt>
                <c:pt idx="7">
                  <c:v>0</c:v>
                </c:pt>
                <c:pt idx="8">
                  <c:v>0</c:v>
                </c:pt>
                <c:pt idx="9">
                  <c:v>0</c:v>
                </c:pt>
                <c:pt idx="10">
                  <c:v>0</c:v>
                </c:pt>
                <c:pt idx="11">
                  <c:v>0</c:v>
                </c:pt>
                <c:pt idx="12">
                  <c:v>0</c:v>
                </c:pt>
                <c:pt idx="13">
                  <c:v>0</c:v>
                </c:pt>
                <c:pt idx="14">
                  <c:v>0</c:v>
                </c:pt>
                <c:pt idx="15">
                  <c:v>0</c:v>
                </c:pt>
                <c:pt idx="16">
                  <c:v>0.70000000000000007</c:v>
                </c:pt>
                <c:pt idx="17">
                  <c:v>0</c:v>
                </c:pt>
                <c:pt idx="18">
                  <c:v>0</c:v>
                </c:pt>
                <c:pt idx="19">
                  <c:v>0</c:v>
                </c:pt>
                <c:pt idx="20">
                  <c:v>0</c:v>
                </c:pt>
                <c:pt idx="21">
                  <c:v>0</c:v>
                </c:pt>
                <c:pt idx="22">
                  <c:v>0</c:v>
                </c:pt>
                <c:pt idx="23">
                  <c:v>0</c:v>
                </c:pt>
                <c:pt idx="24">
                  <c:v>0</c:v>
                </c:pt>
                <c:pt idx="25">
                  <c:v>0</c:v>
                </c:pt>
                <c:pt idx="26">
                  <c:v>0</c:v>
                </c:pt>
                <c:pt idx="27">
                  <c:v>0</c:v>
                </c:pt>
                <c:pt idx="28">
                  <c:v>0.65</c:v>
                </c:pt>
              </c:numCache>
            </c:numRef>
          </c:xVal>
          <c:yVal>
            <c:numRef>
              <c:f>Sheet1!$B$2:$B$30</c:f>
              <c:numCache>
                <c:formatCode>General</c:formatCode>
                <c:ptCount val="29"/>
                <c:pt idx="0">
                  <c:v>6.7530926961531942E-2</c:v>
                </c:pt>
                <c:pt idx="1">
                  <c:v>1.42812303829253E-2</c:v>
                </c:pt>
                <c:pt idx="2">
                  <c:v>6.1371841155234648E-2</c:v>
                </c:pt>
                <c:pt idx="3">
                  <c:v>0.29048851105772189</c:v>
                </c:pt>
                <c:pt idx="4">
                  <c:v>0.2636570764832023</c:v>
                </c:pt>
                <c:pt idx="5">
                  <c:v>0</c:v>
                </c:pt>
                <c:pt idx="6">
                  <c:v>0</c:v>
                </c:pt>
                <c:pt idx="7">
                  <c:v>0</c:v>
                </c:pt>
                <c:pt idx="8">
                  <c:v>0</c:v>
                </c:pt>
                <c:pt idx="9">
                  <c:v>0</c:v>
                </c:pt>
                <c:pt idx="10">
                  <c:v>0</c:v>
                </c:pt>
                <c:pt idx="11">
                  <c:v>0</c:v>
                </c:pt>
                <c:pt idx="12">
                  <c:v>0</c:v>
                </c:pt>
                <c:pt idx="13">
                  <c:v>0</c:v>
                </c:pt>
                <c:pt idx="14">
                  <c:v>0</c:v>
                </c:pt>
                <c:pt idx="15">
                  <c:v>0</c:v>
                </c:pt>
                <c:pt idx="16">
                  <c:v>1.664441313454075</c:v>
                </c:pt>
                <c:pt idx="17">
                  <c:v>0</c:v>
                </c:pt>
                <c:pt idx="18">
                  <c:v>0</c:v>
                </c:pt>
                <c:pt idx="19">
                  <c:v>0</c:v>
                </c:pt>
                <c:pt idx="20">
                  <c:v>0</c:v>
                </c:pt>
                <c:pt idx="21">
                  <c:v>0</c:v>
                </c:pt>
                <c:pt idx="22">
                  <c:v>0</c:v>
                </c:pt>
                <c:pt idx="23">
                  <c:v>0</c:v>
                </c:pt>
                <c:pt idx="24">
                  <c:v>0</c:v>
                </c:pt>
                <c:pt idx="25">
                  <c:v>0</c:v>
                </c:pt>
                <c:pt idx="26">
                  <c:v>0</c:v>
                </c:pt>
                <c:pt idx="27">
                  <c:v>0</c:v>
                </c:pt>
                <c:pt idx="28">
                  <c:v>5.9169822980092587E-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0</c:f>
              <c:numCache>
                <c:formatCode>General</c:formatCode>
                <c:ptCount val="29"/>
                <c:pt idx="0">
                  <c:v>15</c:v>
                </c:pt>
                <c:pt idx="1">
                  <c:v>14</c:v>
                </c:pt>
                <c:pt idx="2">
                  <c:v>12</c:v>
                </c:pt>
                <c:pt idx="3">
                  <c:v>11.5</c:v>
                </c:pt>
                <c:pt idx="4">
                  <c:v>4.5</c:v>
                </c:pt>
                <c:pt idx="5">
                  <c:v>15</c:v>
                </c:pt>
                <c:pt idx="6">
                  <c:v>15</c:v>
                </c:pt>
                <c:pt idx="7">
                  <c:v>15</c:v>
                </c:pt>
                <c:pt idx="8">
                  <c:v>15</c:v>
                </c:pt>
                <c:pt idx="9">
                  <c:v>15</c:v>
                </c:pt>
                <c:pt idx="10">
                  <c:v>15</c:v>
                </c:pt>
                <c:pt idx="11">
                  <c:v>15</c:v>
                </c:pt>
                <c:pt idx="12">
                  <c:v>15</c:v>
                </c:pt>
                <c:pt idx="13">
                  <c:v>15</c:v>
                </c:pt>
                <c:pt idx="14">
                  <c:v>15</c:v>
                </c:pt>
                <c:pt idx="15">
                  <c:v>15</c:v>
                </c:pt>
                <c:pt idx="16">
                  <c:v>4.5</c:v>
                </c:pt>
                <c:pt idx="17">
                  <c:v>15</c:v>
                </c:pt>
                <c:pt idx="18">
                  <c:v>15</c:v>
                </c:pt>
                <c:pt idx="19">
                  <c:v>15</c:v>
                </c:pt>
                <c:pt idx="20">
                  <c:v>15</c:v>
                </c:pt>
                <c:pt idx="21">
                  <c:v>15</c:v>
                </c:pt>
                <c:pt idx="22">
                  <c:v>15</c:v>
                </c:pt>
                <c:pt idx="23">
                  <c:v>15</c:v>
                </c:pt>
                <c:pt idx="24">
                  <c:v>15</c:v>
                </c:pt>
                <c:pt idx="25">
                  <c:v>15</c:v>
                </c:pt>
                <c:pt idx="26">
                  <c:v>15</c:v>
                </c:pt>
                <c:pt idx="27">
                  <c:v>15</c:v>
                </c:pt>
                <c:pt idx="28">
                  <c:v>5</c:v>
                </c:pt>
              </c:numCache>
            </c:numRef>
          </c:xVal>
          <c:yVal>
            <c:numRef>
              <c:f>Sheet1!$B$2:$B$30</c:f>
              <c:numCache>
                <c:formatCode>General</c:formatCode>
                <c:ptCount val="29"/>
                <c:pt idx="0">
                  <c:v>6.7530926961531942E-2</c:v>
                </c:pt>
                <c:pt idx="1">
                  <c:v>1.42812303829253E-2</c:v>
                </c:pt>
                <c:pt idx="2">
                  <c:v>6.1371841155234648E-2</c:v>
                </c:pt>
                <c:pt idx="3">
                  <c:v>0.29048851105772189</c:v>
                </c:pt>
                <c:pt idx="4">
                  <c:v>0.2636570764832023</c:v>
                </c:pt>
                <c:pt idx="5">
                  <c:v>0</c:v>
                </c:pt>
                <c:pt idx="6">
                  <c:v>0</c:v>
                </c:pt>
                <c:pt idx="7">
                  <c:v>0</c:v>
                </c:pt>
                <c:pt idx="8">
                  <c:v>0</c:v>
                </c:pt>
                <c:pt idx="9">
                  <c:v>0</c:v>
                </c:pt>
                <c:pt idx="10">
                  <c:v>0</c:v>
                </c:pt>
                <c:pt idx="11">
                  <c:v>0</c:v>
                </c:pt>
                <c:pt idx="12">
                  <c:v>0</c:v>
                </c:pt>
                <c:pt idx="13">
                  <c:v>0</c:v>
                </c:pt>
                <c:pt idx="14">
                  <c:v>0</c:v>
                </c:pt>
                <c:pt idx="15">
                  <c:v>0</c:v>
                </c:pt>
                <c:pt idx="16">
                  <c:v>1.664441313454075</c:v>
                </c:pt>
                <c:pt idx="17">
                  <c:v>0</c:v>
                </c:pt>
                <c:pt idx="18">
                  <c:v>0</c:v>
                </c:pt>
                <c:pt idx="19">
                  <c:v>0</c:v>
                </c:pt>
                <c:pt idx="20">
                  <c:v>0</c:v>
                </c:pt>
                <c:pt idx="21">
                  <c:v>0</c:v>
                </c:pt>
                <c:pt idx="22">
                  <c:v>0</c:v>
                </c:pt>
                <c:pt idx="23">
                  <c:v>0</c:v>
                </c:pt>
                <c:pt idx="24">
                  <c:v>0</c:v>
                </c:pt>
                <c:pt idx="25">
                  <c:v>0</c:v>
                </c:pt>
                <c:pt idx="26">
                  <c:v>0</c:v>
                </c:pt>
                <c:pt idx="27">
                  <c:v>0</c:v>
                </c:pt>
                <c:pt idx="28">
                  <c:v>5.9169822980092587E-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0.1</c:v>
                </c:pt>
                <c:pt idx="1">
                  <c:v>0.1</c:v>
                </c:pt>
                <c:pt idx="2">
                  <c:v>0.05</c:v>
                </c:pt>
                <c:pt idx="3">
                  <c:v>0.05</c:v>
                </c:pt>
                <c:pt idx="4">
                  <c:v>0.2</c:v>
                </c:pt>
                <c:pt idx="5">
                  <c:v>0.1</c:v>
                </c:pt>
                <c:pt idx="6">
                  <c:v>0.1</c:v>
                </c:pt>
                <c:pt idx="7">
                  <c:v>0.1</c:v>
                </c:pt>
                <c:pt idx="8">
                  <c:v>0.15</c:v>
                </c:pt>
                <c:pt idx="9">
                  <c:v>0.15</c:v>
                </c:pt>
                <c:pt idx="10">
                  <c:v>0.15</c:v>
                </c:pt>
                <c:pt idx="11">
                  <c:v>0.25</c:v>
                </c:pt>
                <c:pt idx="12">
                  <c:v>0.2</c:v>
                </c:pt>
                <c:pt idx="13">
                  <c:v>0.1</c:v>
                </c:pt>
                <c:pt idx="14">
                  <c:v>0</c:v>
                </c:pt>
                <c:pt idx="15">
                  <c:v>0</c:v>
                </c:pt>
                <c:pt idx="16">
                  <c:v>0</c:v>
                </c:pt>
                <c:pt idx="17">
                  <c:v>0</c:v>
                </c:pt>
                <c:pt idx="18">
                  <c:v>0</c:v>
                </c:pt>
                <c:pt idx="19">
                  <c:v>0.1</c:v>
                </c:pt>
                <c:pt idx="20">
                  <c:v>0.2</c:v>
                </c:pt>
                <c:pt idx="21">
                  <c:v>0.15</c:v>
                </c:pt>
                <c:pt idx="22">
                  <c:v>0.15</c:v>
                </c:pt>
                <c:pt idx="23">
                  <c:v>0.15</c:v>
                </c:pt>
                <c:pt idx="24">
                  <c:v>0.1</c:v>
                </c:pt>
                <c:pt idx="25">
                  <c:v>0.2</c:v>
                </c:pt>
                <c:pt idx="26">
                  <c:v>0.05</c:v>
                </c:pt>
                <c:pt idx="27">
                  <c:v>0.05</c:v>
                </c:pt>
                <c:pt idx="28">
                  <c:v>0.2</c:v>
                </c:pt>
                <c:pt idx="29">
                  <c:v>0.2</c:v>
                </c:pt>
                <c:pt idx="30">
                  <c:v>0.2</c:v>
                </c:pt>
                <c:pt idx="31">
                  <c:v>0.1</c:v>
                </c:pt>
                <c:pt idx="32">
                  <c:v>0</c:v>
                </c:pt>
                <c:pt idx="33">
                  <c:v>0</c:v>
                </c:pt>
                <c:pt idx="34">
                  <c:v>0</c:v>
                </c:pt>
                <c:pt idx="35">
                  <c:v>0.2</c:v>
                </c:pt>
                <c:pt idx="36">
                  <c:v>0.15</c:v>
                </c:pt>
                <c:pt idx="37">
                  <c:v>0.2</c:v>
                </c:pt>
                <c:pt idx="38">
                  <c:v>0.15</c:v>
                </c:pt>
                <c:pt idx="39">
                  <c:v>0.05</c:v>
                </c:pt>
                <c:pt idx="40">
                  <c:v>0.15</c:v>
                </c:pt>
                <c:pt idx="41">
                  <c:v>0.15</c:v>
                </c:pt>
                <c:pt idx="42">
                  <c:v>0.4</c:v>
                </c:pt>
                <c:pt idx="43">
                  <c:v>0.15</c:v>
                </c:pt>
                <c:pt idx="44">
                  <c:v>0.2</c:v>
                </c:pt>
                <c:pt idx="45">
                  <c:v>0.25</c:v>
                </c:pt>
                <c:pt idx="46">
                  <c:v>0.25</c:v>
                </c:pt>
                <c:pt idx="47">
                  <c:v>0.15</c:v>
                </c:pt>
                <c:pt idx="48">
                  <c:v>0.25</c:v>
                </c:pt>
                <c:pt idx="49">
                  <c:v>0.2</c:v>
                </c:pt>
                <c:pt idx="50">
                  <c:v>0.05</c:v>
                </c:pt>
                <c:pt idx="51">
                  <c:v>0.05</c:v>
                </c:pt>
                <c:pt idx="52">
                  <c:v>0.1</c:v>
                </c:pt>
                <c:pt idx="53">
                  <c:v>0.1</c:v>
                </c:pt>
                <c:pt idx="54">
                  <c:v>0.2</c:v>
                </c:pt>
                <c:pt idx="55">
                  <c:v>0.2</c:v>
                </c:pt>
                <c:pt idx="56">
                  <c:v>0.2</c:v>
                </c:pt>
                <c:pt idx="57">
                  <c:v>0.2</c:v>
                </c:pt>
                <c:pt idx="58">
                  <c:v>0.15</c:v>
                </c:pt>
                <c:pt idx="59">
                  <c:v>0.05</c:v>
                </c:pt>
                <c:pt idx="60">
                  <c:v>0.1</c:v>
                </c:pt>
                <c:pt idx="61">
                  <c:v>0.15</c:v>
                </c:pt>
                <c:pt idx="62">
                  <c:v>0.2</c:v>
                </c:pt>
                <c:pt idx="63">
                  <c:v>0.15</c:v>
                </c:pt>
                <c:pt idx="64">
                  <c:v>0</c:v>
                </c:pt>
                <c:pt idx="65">
                  <c:v>0</c:v>
                </c:pt>
                <c:pt idx="66">
                  <c:v>0</c:v>
                </c:pt>
                <c:pt idx="67">
                  <c:v>0</c:v>
                </c:pt>
                <c:pt idx="68">
                  <c:v>0</c:v>
                </c:pt>
                <c:pt idx="69">
                  <c:v>0.15</c:v>
                </c:pt>
                <c:pt idx="70">
                  <c:v>0.2</c:v>
                </c:pt>
                <c:pt idx="71">
                  <c:v>0.15</c:v>
                </c:pt>
                <c:pt idx="72">
                  <c:v>0.2</c:v>
                </c:pt>
                <c:pt idx="73">
                  <c:v>0.15</c:v>
                </c:pt>
                <c:pt idx="74">
                  <c:v>0.15</c:v>
                </c:pt>
                <c:pt idx="75">
                  <c:v>0.2</c:v>
                </c:pt>
                <c:pt idx="76">
                  <c:v>0.1</c:v>
                </c:pt>
                <c:pt idx="77">
                  <c:v>0.05</c:v>
                </c:pt>
                <c:pt idx="78">
                  <c:v>0.1</c:v>
                </c:pt>
                <c:pt idx="79">
                  <c:v>0.15</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81</c:f>
              <c:numCache>
                <c:formatCode>General</c:formatCode>
                <c:ptCount val="80"/>
                <c:pt idx="0">
                  <c:v>23</c:v>
                </c:pt>
                <c:pt idx="1">
                  <c:v>23</c:v>
                </c:pt>
                <c:pt idx="2">
                  <c:v>23.5</c:v>
                </c:pt>
                <c:pt idx="3">
                  <c:v>24</c:v>
                </c:pt>
                <c:pt idx="4">
                  <c:v>19.5</c:v>
                </c:pt>
                <c:pt idx="5">
                  <c:v>19.5</c:v>
                </c:pt>
                <c:pt idx="6">
                  <c:v>19.5</c:v>
                </c:pt>
                <c:pt idx="7">
                  <c:v>19.5</c:v>
                </c:pt>
                <c:pt idx="8">
                  <c:v>21</c:v>
                </c:pt>
                <c:pt idx="9">
                  <c:v>21</c:v>
                </c:pt>
                <c:pt idx="10">
                  <c:v>20.5</c:v>
                </c:pt>
                <c:pt idx="11">
                  <c:v>19</c:v>
                </c:pt>
                <c:pt idx="12">
                  <c:v>19.5</c:v>
                </c:pt>
                <c:pt idx="13">
                  <c:v>22.5</c:v>
                </c:pt>
                <c:pt idx="14">
                  <c:v>22.5</c:v>
                </c:pt>
                <c:pt idx="15">
                  <c:v>22.5</c:v>
                </c:pt>
                <c:pt idx="16">
                  <c:v>22.5</c:v>
                </c:pt>
                <c:pt idx="17">
                  <c:v>22.5</c:v>
                </c:pt>
                <c:pt idx="18">
                  <c:v>22</c:v>
                </c:pt>
                <c:pt idx="19">
                  <c:v>20.5</c:v>
                </c:pt>
                <c:pt idx="20">
                  <c:v>19.5</c:v>
                </c:pt>
                <c:pt idx="21">
                  <c:v>19</c:v>
                </c:pt>
                <c:pt idx="22">
                  <c:v>18.5</c:v>
                </c:pt>
                <c:pt idx="23">
                  <c:v>19</c:v>
                </c:pt>
                <c:pt idx="24">
                  <c:v>20.5</c:v>
                </c:pt>
                <c:pt idx="25">
                  <c:v>20</c:v>
                </c:pt>
                <c:pt idx="26">
                  <c:v>21</c:v>
                </c:pt>
                <c:pt idx="27">
                  <c:v>21.5</c:v>
                </c:pt>
                <c:pt idx="28">
                  <c:v>18</c:v>
                </c:pt>
                <c:pt idx="29">
                  <c:v>18</c:v>
                </c:pt>
                <c:pt idx="30">
                  <c:v>18</c:v>
                </c:pt>
                <c:pt idx="31">
                  <c:v>19.5</c:v>
                </c:pt>
                <c:pt idx="32">
                  <c:v>22.5</c:v>
                </c:pt>
                <c:pt idx="33">
                  <c:v>22.5</c:v>
                </c:pt>
                <c:pt idx="34">
                  <c:v>22.5</c:v>
                </c:pt>
                <c:pt idx="35">
                  <c:v>19</c:v>
                </c:pt>
                <c:pt idx="36">
                  <c:v>20</c:v>
                </c:pt>
                <c:pt idx="37">
                  <c:v>16</c:v>
                </c:pt>
                <c:pt idx="38">
                  <c:v>20</c:v>
                </c:pt>
                <c:pt idx="39">
                  <c:v>21</c:v>
                </c:pt>
                <c:pt idx="40">
                  <c:v>21.5</c:v>
                </c:pt>
                <c:pt idx="41">
                  <c:v>20.5</c:v>
                </c:pt>
                <c:pt idx="42">
                  <c:v>15</c:v>
                </c:pt>
                <c:pt idx="43">
                  <c:v>21.5</c:v>
                </c:pt>
                <c:pt idx="44">
                  <c:v>21</c:v>
                </c:pt>
                <c:pt idx="45">
                  <c:v>20</c:v>
                </c:pt>
                <c:pt idx="46">
                  <c:v>20</c:v>
                </c:pt>
                <c:pt idx="47">
                  <c:v>21.5</c:v>
                </c:pt>
                <c:pt idx="48">
                  <c:v>15</c:v>
                </c:pt>
                <c:pt idx="49">
                  <c:v>16.5</c:v>
                </c:pt>
                <c:pt idx="50">
                  <c:v>19.5</c:v>
                </c:pt>
                <c:pt idx="51">
                  <c:v>19</c:v>
                </c:pt>
                <c:pt idx="52">
                  <c:v>18</c:v>
                </c:pt>
                <c:pt idx="53">
                  <c:v>18</c:v>
                </c:pt>
                <c:pt idx="54">
                  <c:v>16.5</c:v>
                </c:pt>
                <c:pt idx="55">
                  <c:v>16.5</c:v>
                </c:pt>
                <c:pt idx="56">
                  <c:v>16.5</c:v>
                </c:pt>
                <c:pt idx="57">
                  <c:v>16.5</c:v>
                </c:pt>
                <c:pt idx="58">
                  <c:v>17.5</c:v>
                </c:pt>
                <c:pt idx="59">
                  <c:v>19.5</c:v>
                </c:pt>
                <c:pt idx="60">
                  <c:v>18.5</c:v>
                </c:pt>
                <c:pt idx="61">
                  <c:v>17</c:v>
                </c:pt>
                <c:pt idx="62">
                  <c:v>16</c:v>
                </c:pt>
                <c:pt idx="63">
                  <c:v>17.5</c:v>
                </c:pt>
                <c:pt idx="64">
                  <c:v>20</c:v>
                </c:pt>
                <c:pt idx="65">
                  <c:v>20</c:v>
                </c:pt>
                <c:pt idx="66">
                  <c:v>20</c:v>
                </c:pt>
                <c:pt idx="67">
                  <c:v>20</c:v>
                </c:pt>
                <c:pt idx="68">
                  <c:v>20.5</c:v>
                </c:pt>
                <c:pt idx="69">
                  <c:v>17.5</c:v>
                </c:pt>
                <c:pt idx="70">
                  <c:v>16</c:v>
                </c:pt>
                <c:pt idx="71">
                  <c:v>17.5</c:v>
                </c:pt>
                <c:pt idx="72">
                  <c:v>16.5</c:v>
                </c:pt>
                <c:pt idx="73">
                  <c:v>16.5</c:v>
                </c:pt>
                <c:pt idx="74">
                  <c:v>16.5</c:v>
                </c:pt>
                <c:pt idx="75">
                  <c:v>16.5</c:v>
                </c:pt>
                <c:pt idx="76">
                  <c:v>18.5</c:v>
                </c:pt>
                <c:pt idx="77">
                  <c:v>19.5</c:v>
                </c:pt>
                <c:pt idx="78">
                  <c:v>18</c:v>
                </c:pt>
                <c:pt idx="79">
                  <c:v>17</c:v>
                </c:pt>
              </c:numCache>
            </c:numRef>
          </c:xVal>
          <c:yVal>
            <c:numRef>
              <c:f>Sheet1!$B$2:$B$81</c:f>
              <c:numCache>
                <c:formatCode>General</c:formatCode>
                <c:ptCount val="80"/>
                <c:pt idx="0">
                  <c:v>0.1716414696127837</c:v>
                </c:pt>
                <c:pt idx="1">
                  <c:v>0.19561050412114239</c:v>
                </c:pt>
                <c:pt idx="2">
                  <c:v>0.22496310352097831</c:v>
                </c:pt>
                <c:pt idx="3">
                  <c:v>0.1182992202729045</c:v>
                </c:pt>
                <c:pt idx="4">
                  <c:v>5.9712660879976058E-2</c:v>
                </c:pt>
                <c:pt idx="5">
                  <c:v>0.56810078440694078</c:v>
                </c:pt>
                <c:pt idx="6">
                  <c:v>0.46799707958140668</c:v>
                </c:pt>
                <c:pt idx="7">
                  <c:v>0.37372226377461981</c:v>
                </c:pt>
                <c:pt idx="8">
                  <c:v>0.21918678526048291</c:v>
                </c:pt>
                <c:pt idx="9">
                  <c:v>0.33663138518177632</c:v>
                </c:pt>
                <c:pt idx="10">
                  <c:v>9.3392481905206631E-2</c:v>
                </c:pt>
                <c:pt idx="11">
                  <c:v>0.27314601566098567</c:v>
                </c:pt>
                <c:pt idx="12">
                  <c:v>0.31516853932584271</c:v>
                </c:pt>
                <c:pt idx="13">
                  <c:v>4.8875855327468229E-2</c:v>
                </c:pt>
                <c:pt idx="14">
                  <c:v>0.95101550428201032</c:v>
                </c:pt>
                <c:pt idx="15">
                  <c:v>0.82740869479809231</c:v>
                </c:pt>
                <c:pt idx="16">
                  <c:v>0.91830716259823675</c:v>
                </c:pt>
                <c:pt idx="17">
                  <c:v>0.72794078990602629</c:v>
                </c:pt>
                <c:pt idx="18">
                  <c:v>0.26327319574926539</c:v>
                </c:pt>
                <c:pt idx="19">
                  <c:v>0.41861658895495568</c:v>
                </c:pt>
                <c:pt idx="20">
                  <c:v>0.43141486308114563</c:v>
                </c:pt>
                <c:pt idx="21">
                  <c:v>0.22591692202432509</c:v>
                </c:pt>
                <c:pt idx="22">
                  <c:v>0.14423589382892399</c:v>
                </c:pt>
                <c:pt idx="23">
                  <c:v>2.2850767246750611E-2</c:v>
                </c:pt>
                <c:pt idx="24">
                  <c:v>0.30478393439175688</c:v>
                </c:pt>
                <c:pt idx="25">
                  <c:v>0.28285143518031752</c:v>
                </c:pt>
                <c:pt idx="26">
                  <c:v>0.29759768824552901</c:v>
                </c:pt>
                <c:pt idx="27">
                  <c:v>0.4392808327200084</c:v>
                </c:pt>
                <c:pt idx="28">
                  <c:v>0.1445637238373885</c:v>
                </c:pt>
                <c:pt idx="29">
                  <c:v>0.1555106862549207</c:v>
                </c:pt>
                <c:pt idx="30">
                  <c:v>0.1123952804947585</c:v>
                </c:pt>
                <c:pt idx="31">
                  <c:v>0.19200704713331959</c:v>
                </c:pt>
                <c:pt idx="32">
                  <c:v>0.29884378116803961</c:v>
                </c:pt>
                <c:pt idx="33">
                  <c:v>0.50350999303967381</c:v>
                </c:pt>
                <c:pt idx="34">
                  <c:v>0.29848272596334069</c:v>
                </c:pt>
                <c:pt idx="35">
                  <c:v>1.0202798100372219</c:v>
                </c:pt>
                <c:pt idx="36">
                  <c:v>1.5109596662683611E-2</c:v>
                </c:pt>
                <c:pt idx="37">
                  <c:v>6.7286432160804024</c:v>
                </c:pt>
                <c:pt idx="38">
                  <c:v>0.64241803278688525</c:v>
                </c:pt>
                <c:pt idx="39">
                  <c:v>0.4551512728242037</c:v>
                </c:pt>
                <c:pt idx="40">
                  <c:v>0.28962312854930311</c:v>
                </c:pt>
                <c:pt idx="41">
                  <c:v>0.45638359329867129</c:v>
                </c:pt>
                <c:pt idx="42">
                  <c:v>0.19559228650137739</c:v>
                </c:pt>
                <c:pt idx="43">
                  <c:v>0.1166335321404904</c:v>
                </c:pt>
                <c:pt idx="44">
                  <c:v>0.34126258005489479</c:v>
                </c:pt>
                <c:pt idx="45">
                  <c:v>0.28082191780821919</c:v>
                </c:pt>
                <c:pt idx="46">
                  <c:v>0.35658153241650292</c:v>
                </c:pt>
                <c:pt idx="47">
                  <c:v>0.59442332065906212</c:v>
                </c:pt>
                <c:pt idx="48">
                  <c:v>2.8299389002036661</c:v>
                </c:pt>
                <c:pt idx="49">
                  <c:v>2.3436324893457008</c:v>
                </c:pt>
                <c:pt idx="50">
                  <c:v>1.3153346297965181</c:v>
                </c:pt>
                <c:pt idx="51">
                  <c:v>0.2589450219781973</c:v>
                </c:pt>
                <c:pt idx="52">
                  <c:v>0.41032295159926591</c:v>
                </c:pt>
                <c:pt idx="53">
                  <c:v>0.1527795407908015</c:v>
                </c:pt>
                <c:pt idx="54">
                  <c:v>0.32962399638010598</c:v>
                </c:pt>
                <c:pt idx="55">
                  <c:v>0.33612855636587669</c:v>
                </c:pt>
                <c:pt idx="56">
                  <c:v>0.28469611721882598</c:v>
                </c:pt>
                <c:pt idx="57">
                  <c:v>0.33809862977047589</c:v>
                </c:pt>
                <c:pt idx="58">
                  <c:v>0.3674021782338685</c:v>
                </c:pt>
                <c:pt idx="59">
                  <c:v>0.28910423797400969</c:v>
                </c:pt>
                <c:pt idx="60">
                  <c:v>0.42976096248219092</c:v>
                </c:pt>
                <c:pt idx="61">
                  <c:v>0.55645329596613102</c:v>
                </c:pt>
                <c:pt idx="62">
                  <c:v>0.67329652221676162</c:v>
                </c:pt>
                <c:pt idx="63">
                  <c:v>0.40221342158086038</c:v>
                </c:pt>
                <c:pt idx="64">
                  <c:v>0</c:v>
                </c:pt>
                <c:pt idx="65">
                  <c:v>0</c:v>
                </c:pt>
                <c:pt idx="66">
                  <c:v>0</c:v>
                </c:pt>
                <c:pt idx="67">
                  <c:v>0</c:v>
                </c:pt>
                <c:pt idx="68">
                  <c:v>0</c:v>
                </c:pt>
                <c:pt idx="69">
                  <c:v>0.16352101506740679</c:v>
                </c:pt>
                <c:pt idx="70">
                  <c:v>0.37395811627422382</c:v>
                </c:pt>
                <c:pt idx="71">
                  <c:v>0.17932286353338989</c:v>
                </c:pt>
                <c:pt idx="72">
                  <c:v>0.35662682254039141</c:v>
                </c:pt>
                <c:pt idx="73">
                  <c:v>0.29465490561810631</c:v>
                </c:pt>
                <c:pt idx="74">
                  <c:v>0.1885021605819299</c:v>
                </c:pt>
                <c:pt idx="75">
                  <c:v>4.5980102178004842E-2</c:v>
                </c:pt>
                <c:pt idx="76">
                  <c:v>7.6580891575628501E-2</c:v>
                </c:pt>
                <c:pt idx="77">
                  <c:v>0.73210583671156437</c:v>
                </c:pt>
                <c:pt idx="78">
                  <c:v>0.76942216402029795</c:v>
                </c:pt>
                <c:pt idx="79">
                  <c:v>0.553838598788672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799999999999997"/>
          <c:min val="1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074371859296482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2</c:f>
              <c:numCache>
                <c:formatCode>General</c:formatCode>
                <c:ptCount val="51"/>
                <c:pt idx="0">
                  <c:v>0.05</c:v>
                </c:pt>
                <c:pt idx="1">
                  <c:v>0.05</c:v>
                </c:pt>
                <c:pt idx="2">
                  <c:v>0.1</c:v>
                </c:pt>
                <c:pt idx="3">
                  <c:v>0.1</c:v>
                </c:pt>
                <c:pt idx="4">
                  <c:v>0.1</c:v>
                </c:pt>
                <c:pt idx="5">
                  <c:v>0.1</c:v>
                </c:pt>
                <c:pt idx="6">
                  <c:v>0.1</c:v>
                </c:pt>
                <c:pt idx="7">
                  <c:v>0.05</c:v>
                </c:pt>
                <c:pt idx="8">
                  <c:v>0.05</c:v>
                </c:pt>
                <c:pt idx="9">
                  <c:v>0.05</c:v>
                </c:pt>
                <c:pt idx="10">
                  <c:v>0.05</c:v>
                </c:pt>
                <c:pt idx="11">
                  <c:v>0.05</c:v>
                </c:pt>
                <c:pt idx="12">
                  <c:v>0</c:v>
                </c:pt>
                <c:pt idx="13">
                  <c:v>0</c:v>
                </c:pt>
                <c:pt idx="14">
                  <c:v>0</c:v>
                </c:pt>
                <c:pt idx="15">
                  <c:v>0</c:v>
                </c:pt>
                <c:pt idx="16">
                  <c:v>0</c:v>
                </c:pt>
                <c:pt idx="17">
                  <c:v>0</c:v>
                </c:pt>
                <c:pt idx="18">
                  <c:v>0</c:v>
                </c:pt>
                <c:pt idx="19">
                  <c:v>0</c:v>
                </c:pt>
                <c:pt idx="20">
                  <c:v>0</c:v>
                </c:pt>
                <c:pt idx="21">
                  <c:v>0</c:v>
                </c:pt>
                <c:pt idx="22">
                  <c:v>0</c:v>
                </c:pt>
                <c:pt idx="23">
                  <c:v>0</c:v>
                </c:pt>
                <c:pt idx="24">
                  <c:v>0.3</c:v>
                </c:pt>
                <c:pt idx="25">
                  <c:v>0</c:v>
                </c:pt>
                <c:pt idx="26">
                  <c:v>0</c:v>
                </c:pt>
                <c:pt idx="27">
                  <c:v>0</c:v>
                </c:pt>
                <c:pt idx="28">
                  <c:v>0</c:v>
                </c:pt>
                <c:pt idx="29">
                  <c:v>0</c:v>
                </c:pt>
                <c:pt idx="30">
                  <c:v>0</c:v>
                </c:pt>
                <c:pt idx="31">
                  <c:v>0</c:v>
                </c:pt>
                <c:pt idx="32">
                  <c:v>0</c:v>
                </c:pt>
                <c:pt idx="33">
                  <c:v>0</c:v>
                </c:pt>
                <c:pt idx="34">
                  <c:v>0</c:v>
                </c:pt>
                <c:pt idx="35">
                  <c:v>0</c:v>
                </c:pt>
                <c:pt idx="36">
                  <c:v>0.4</c:v>
                </c:pt>
                <c:pt idx="37">
                  <c:v>0.1</c:v>
                </c:pt>
                <c:pt idx="38">
                  <c:v>0.1</c:v>
                </c:pt>
                <c:pt idx="39">
                  <c:v>0.1</c:v>
                </c:pt>
                <c:pt idx="40">
                  <c:v>0.1</c:v>
                </c:pt>
                <c:pt idx="41">
                  <c:v>0.1</c:v>
                </c:pt>
                <c:pt idx="42">
                  <c:v>0.1</c:v>
                </c:pt>
                <c:pt idx="43">
                  <c:v>0.1</c:v>
                </c:pt>
                <c:pt idx="44">
                  <c:v>0.1</c:v>
                </c:pt>
                <c:pt idx="45">
                  <c:v>0.1</c:v>
                </c:pt>
                <c:pt idx="46">
                  <c:v>0.55000000000000004</c:v>
                </c:pt>
                <c:pt idx="47">
                  <c:v>0.5</c:v>
                </c:pt>
                <c:pt idx="48">
                  <c:v>0.1</c:v>
                </c:pt>
                <c:pt idx="49">
                  <c:v>0.1</c:v>
                </c:pt>
                <c:pt idx="50">
                  <c:v>0.55000000000000004</c:v>
                </c:pt>
              </c:numCache>
            </c:numRef>
          </c:xVal>
          <c:yVal>
            <c:numRef>
              <c:f>Sheet1!$B$2:$B$52</c:f>
              <c:numCache>
                <c:formatCode>General</c:formatCode>
                <c:ptCount val="51"/>
                <c:pt idx="0">
                  <c:v>0</c:v>
                </c:pt>
                <c:pt idx="1">
                  <c:v>0</c:v>
                </c:pt>
                <c:pt idx="2">
                  <c:v>4.2928911239096292E-2</c:v>
                </c:pt>
                <c:pt idx="3">
                  <c:v>4.9114348672794912E-2</c:v>
                </c:pt>
                <c:pt idx="4">
                  <c:v>2.389419490227571E-2</c:v>
                </c:pt>
                <c:pt idx="5">
                  <c:v>3.4681866912813802E-2</c:v>
                </c:pt>
                <c:pt idx="6">
                  <c:v>2.5666582684389171E-2</c:v>
                </c:pt>
                <c:pt idx="7">
                  <c:v>3.2344375495060432E-2</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6.3668380332690564</c:v>
                </c:pt>
                <c:pt idx="25">
                  <c:v>0</c:v>
                </c:pt>
                <c:pt idx="26">
                  <c:v>0</c:v>
                </c:pt>
                <c:pt idx="27">
                  <c:v>0</c:v>
                </c:pt>
                <c:pt idx="28">
                  <c:v>0</c:v>
                </c:pt>
                <c:pt idx="29">
                  <c:v>0</c:v>
                </c:pt>
                <c:pt idx="30">
                  <c:v>0</c:v>
                </c:pt>
                <c:pt idx="31">
                  <c:v>0</c:v>
                </c:pt>
                <c:pt idx="32">
                  <c:v>0</c:v>
                </c:pt>
                <c:pt idx="33">
                  <c:v>0</c:v>
                </c:pt>
                <c:pt idx="34">
                  <c:v>0</c:v>
                </c:pt>
                <c:pt idx="35">
                  <c:v>0.118202886940101</c:v>
                </c:pt>
                <c:pt idx="36">
                  <c:v>9.6100644010672305</c:v>
                </c:pt>
                <c:pt idx="37">
                  <c:v>0</c:v>
                </c:pt>
                <c:pt idx="38">
                  <c:v>0.1075739850080159</c:v>
                </c:pt>
                <c:pt idx="39">
                  <c:v>0.12924172747363891</c:v>
                </c:pt>
                <c:pt idx="40">
                  <c:v>8.9179428686614243E-2</c:v>
                </c:pt>
                <c:pt idx="41">
                  <c:v>1.8823908838789379E-2</c:v>
                </c:pt>
                <c:pt idx="42">
                  <c:v>4.4997333996871877E-2</c:v>
                </c:pt>
                <c:pt idx="43">
                  <c:v>1.5174586903428671E-2</c:v>
                </c:pt>
                <c:pt idx="44">
                  <c:v>6.8489152641307519E-2</c:v>
                </c:pt>
                <c:pt idx="45">
                  <c:v>1.1495774739492599E-2</c:v>
                </c:pt>
                <c:pt idx="46">
                  <c:v>0.61343300703579084</c:v>
                </c:pt>
                <c:pt idx="47">
                  <c:v>0.35530624225425611</c:v>
                </c:pt>
                <c:pt idx="48">
                  <c:v>0</c:v>
                </c:pt>
                <c:pt idx="49">
                  <c:v>1.511465339210143E-2</c:v>
                </c:pt>
                <c:pt idx="50">
                  <c:v>0.2705585221532689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66"/>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2</c:f>
              <c:numCache>
                <c:formatCode>General</c:formatCode>
                <c:ptCount val="51"/>
                <c:pt idx="0">
                  <c:v>6</c:v>
                </c:pt>
                <c:pt idx="1">
                  <c:v>6</c:v>
                </c:pt>
                <c:pt idx="2">
                  <c:v>6</c:v>
                </c:pt>
                <c:pt idx="3">
                  <c:v>6</c:v>
                </c:pt>
                <c:pt idx="4">
                  <c:v>6</c:v>
                </c:pt>
                <c:pt idx="5">
                  <c:v>6</c:v>
                </c:pt>
                <c:pt idx="6">
                  <c:v>6</c:v>
                </c:pt>
                <c:pt idx="7">
                  <c:v>6</c:v>
                </c:pt>
                <c:pt idx="8">
                  <c:v>6.5</c:v>
                </c:pt>
                <c:pt idx="9">
                  <c:v>6</c:v>
                </c:pt>
                <c:pt idx="10">
                  <c:v>14.5</c:v>
                </c:pt>
                <c:pt idx="11">
                  <c:v>10</c:v>
                </c:pt>
                <c:pt idx="12">
                  <c:v>11</c:v>
                </c:pt>
                <c:pt idx="13">
                  <c:v>10</c:v>
                </c:pt>
                <c:pt idx="14">
                  <c:v>10</c:v>
                </c:pt>
                <c:pt idx="15">
                  <c:v>10</c:v>
                </c:pt>
                <c:pt idx="16">
                  <c:v>10</c:v>
                </c:pt>
                <c:pt idx="17">
                  <c:v>10</c:v>
                </c:pt>
                <c:pt idx="18">
                  <c:v>10</c:v>
                </c:pt>
                <c:pt idx="19">
                  <c:v>10</c:v>
                </c:pt>
                <c:pt idx="20">
                  <c:v>10</c:v>
                </c:pt>
                <c:pt idx="21">
                  <c:v>10</c:v>
                </c:pt>
                <c:pt idx="22">
                  <c:v>10</c:v>
                </c:pt>
                <c:pt idx="23">
                  <c:v>10</c:v>
                </c:pt>
                <c:pt idx="24">
                  <c:v>7</c:v>
                </c:pt>
                <c:pt idx="25">
                  <c:v>10</c:v>
                </c:pt>
                <c:pt idx="26">
                  <c:v>10</c:v>
                </c:pt>
                <c:pt idx="27">
                  <c:v>10</c:v>
                </c:pt>
                <c:pt idx="28">
                  <c:v>10</c:v>
                </c:pt>
                <c:pt idx="29">
                  <c:v>10</c:v>
                </c:pt>
                <c:pt idx="30">
                  <c:v>10</c:v>
                </c:pt>
                <c:pt idx="31">
                  <c:v>10</c:v>
                </c:pt>
                <c:pt idx="32">
                  <c:v>10</c:v>
                </c:pt>
                <c:pt idx="33">
                  <c:v>10</c:v>
                </c:pt>
                <c:pt idx="34">
                  <c:v>10</c:v>
                </c:pt>
                <c:pt idx="35">
                  <c:v>10</c:v>
                </c:pt>
                <c:pt idx="36">
                  <c:v>6</c:v>
                </c:pt>
                <c:pt idx="37">
                  <c:v>6</c:v>
                </c:pt>
                <c:pt idx="38">
                  <c:v>6</c:v>
                </c:pt>
                <c:pt idx="39">
                  <c:v>6</c:v>
                </c:pt>
                <c:pt idx="40">
                  <c:v>6</c:v>
                </c:pt>
                <c:pt idx="41">
                  <c:v>6</c:v>
                </c:pt>
                <c:pt idx="42">
                  <c:v>6</c:v>
                </c:pt>
                <c:pt idx="43">
                  <c:v>6</c:v>
                </c:pt>
                <c:pt idx="44">
                  <c:v>6</c:v>
                </c:pt>
                <c:pt idx="45">
                  <c:v>6</c:v>
                </c:pt>
                <c:pt idx="46">
                  <c:v>3</c:v>
                </c:pt>
                <c:pt idx="47">
                  <c:v>3</c:v>
                </c:pt>
                <c:pt idx="48">
                  <c:v>10</c:v>
                </c:pt>
                <c:pt idx="49">
                  <c:v>10</c:v>
                </c:pt>
                <c:pt idx="50">
                  <c:v>5</c:v>
                </c:pt>
              </c:numCache>
            </c:numRef>
          </c:xVal>
          <c:yVal>
            <c:numRef>
              <c:f>Sheet1!$B$2:$B$52</c:f>
              <c:numCache>
                <c:formatCode>General</c:formatCode>
                <c:ptCount val="51"/>
                <c:pt idx="0">
                  <c:v>0</c:v>
                </c:pt>
                <c:pt idx="1">
                  <c:v>0</c:v>
                </c:pt>
                <c:pt idx="2">
                  <c:v>4.2928911239096292E-2</c:v>
                </c:pt>
                <c:pt idx="3">
                  <c:v>4.9114348672794912E-2</c:v>
                </c:pt>
                <c:pt idx="4">
                  <c:v>2.389419490227571E-2</c:v>
                </c:pt>
                <c:pt idx="5">
                  <c:v>3.4681866912813802E-2</c:v>
                </c:pt>
                <c:pt idx="6">
                  <c:v>2.5666582684389171E-2</c:v>
                </c:pt>
                <c:pt idx="7">
                  <c:v>3.2344375495060432E-2</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6.3668380332690564</c:v>
                </c:pt>
                <c:pt idx="25">
                  <c:v>0</c:v>
                </c:pt>
                <c:pt idx="26">
                  <c:v>0</c:v>
                </c:pt>
                <c:pt idx="27">
                  <c:v>0</c:v>
                </c:pt>
                <c:pt idx="28">
                  <c:v>0</c:v>
                </c:pt>
                <c:pt idx="29">
                  <c:v>0</c:v>
                </c:pt>
                <c:pt idx="30">
                  <c:v>0</c:v>
                </c:pt>
                <c:pt idx="31">
                  <c:v>0</c:v>
                </c:pt>
                <c:pt idx="32">
                  <c:v>0</c:v>
                </c:pt>
                <c:pt idx="33">
                  <c:v>0</c:v>
                </c:pt>
                <c:pt idx="34">
                  <c:v>0</c:v>
                </c:pt>
                <c:pt idx="35">
                  <c:v>0.118202886940101</c:v>
                </c:pt>
                <c:pt idx="36">
                  <c:v>9.6100644010672305</c:v>
                </c:pt>
                <c:pt idx="37">
                  <c:v>0</c:v>
                </c:pt>
                <c:pt idx="38">
                  <c:v>0.1075739850080159</c:v>
                </c:pt>
                <c:pt idx="39">
                  <c:v>0.12924172747363891</c:v>
                </c:pt>
                <c:pt idx="40">
                  <c:v>8.9179428686614243E-2</c:v>
                </c:pt>
                <c:pt idx="41">
                  <c:v>1.8823908838789379E-2</c:v>
                </c:pt>
                <c:pt idx="42">
                  <c:v>4.4997333996871877E-2</c:v>
                </c:pt>
                <c:pt idx="43">
                  <c:v>1.5174586903428671E-2</c:v>
                </c:pt>
                <c:pt idx="44">
                  <c:v>6.8489152641307519E-2</c:v>
                </c:pt>
                <c:pt idx="45">
                  <c:v>1.1495774739492599E-2</c:v>
                </c:pt>
                <c:pt idx="46">
                  <c:v>0.61343300703579084</c:v>
                </c:pt>
                <c:pt idx="47">
                  <c:v>0.35530624225425611</c:v>
                </c:pt>
                <c:pt idx="48">
                  <c:v>0</c:v>
                </c:pt>
                <c:pt idx="49">
                  <c:v>1.511465339210143E-2</c:v>
                </c:pt>
                <c:pt idx="50">
                  <c:v>0.2705585221532689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7.399999999999999"/>
          <c:min val="2.400000000000000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1.53207728128067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8</c:f>
              <c:numCache>
                <c:formatCode>General</c:formatCode>
                <c:ptCount val="37"/>
                <c:pt idx="0">
                  <c:v>0.15</c:v>
                </c:pt>
                <c:pt idx="1">
                  <c:v>0</c:v>
                </c:pt>
                <c:pt idx="2">
                  <c:v>0.05</c:v>
                </c:pt>
                <c:pt idx="3">
                  <c:v>0.1</c:v>
                </c:pt>
                <c:pt idx="4">
                  <c:v>0.05</c:v>
                </c:pt>
                <c:pt idx="5">
                  <c:v>0.1</c:v>
                </c:pt>
                <c:pt idx="6">
                  <c:v>0.05</c:v>
                </c:pt>
                <c:pt idx="7">
                  <c:v>0.60000000000000009</c:v>
                </c:pt>
                <c:pt idx="8">
                  <c:v>0.60000000000000009</c:v>
                </c:pt>
                <c:pt idx="9">
                  <c:v>0.15</c:v>
                </c:pt>
                <c:pt idx="10">
                  <c:v>0.1</c:v>
                </c:pt>
                <c:pt idx="11">
                  <c:v>0.15</c:v>
                </c:pt>
                <c:pt idx="12">
                  <c:v>0.1</c:v>
                </c:pt>
                <c:pt idx="13">
                  <c:v>0</c:v>
                </c:pt>
                <c:pt idx="14">
                  <c:v>0</c:v>
                </c:pt>
                <c:pt idx="15">
                  <c:v>0</c:v>
                </c:pt>
                <c:pt idx="16">
                  <c:v>0</c:v>
                </c:pt>
                <c:pt idx="17">
                  <c:v>0</c:v>
                </c:pt>
                <c:pt idx="18">
                  <c:v>0</c:v>
                </c:pt>
                <c:pt idx="19">
                  <c:v>0</c:v>
                </c:pt>
                <c:pt idx="20">
                  <c:v>0</c:v>
                </c:pt>
                <c:pt idx="21">
                  <c:v>0</c:v>
                </c:pt>
                <c:pt idx="22">
                  <c:v>0</c:v>
                </c:pt>
                <c:pt idx="23">
                  <c:v>0</c:v>
                </c:pt>
                <c:pt idx="24">
                  <c:v>0.3</c:v>
                </c:pt>
                <c:pt idx="25">
                  <c:v>0</c:v>
                </c:pt>
                <c:pt idx="26">
                  <c:v>0</c:v>
                </c:pt>
                <c:pt idx="27">
                  <c:v>0</c:v>
                </c:pt>
                <c:pt idx="28">
                  <c:v>0</c:v>
                </c:pt>
                <c:pt idx="29">
                  <c:v>0</c:v>
                </c:pt>
                <c:pt idx="30">
                  <c:v>0</c:v>
                </c:pt>
                <c:pt idx="31">
                  <c:v>0</c:v>
                </c:pt>
                <c:pt idx="32">
                  <c:v>0</c:v>
                </c:pt>
                <c:pt idx="33">
                  <c:v>0</c:v>
                </c:pt>
                <c:pt idx="34">
                  <c:v>0</c:v>
                </c:pt>
                <c:pt idx="35">
                  <c:v>0</c:v>
                </c:pt>
                <c:pt idx="36">
                  <c:v>0.4</c:v>
                </c:pt>
              </c:numCache>
            </c:numRef>
          </c:xVal>
          <c:yVal>
            <c:numRef>
              <c:f>Sheet1!$B$2:$B$38</c:f>
              <c:numCache>
                <c:formatCode>General</c:formatCode>
                <c:ptCount val="37"/>
                <c:pt idx="0">
                  <c:v>0</c:v>
                </c:pt>
                <c:pt idx="1">
                  <c:v>0</c:v>
                </c:pt>
                <c:pt idx="2">
                  <c:v>0</c:v>
                </c:pt>
                <c:pt idx="3">
                  <c:v>0</c:v>
                </c:pt>
                <c:pt idx="4">
                  <c:v>0</c:v>
                </c:pt>
                <c:pt idx="5">
                  <c:v>0</c:v>
                </c:pt>
                <c:pt idx="6">
                  <c:v>0</c:v>
                </c:pt>
                <c:pt idx="7">
                  <c:v>0.58664971314511916</c:v>
                </c:pt>
                <c:pt idx="8">
                  <c:v>0.53240658421394194</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7.0868639048581716</c:v>
                </c:pt>
                <c:pt idx="25">
                  <c:v>0</c:v>
                </c:pt>
                <c:pt idx="26">
                  <c:v>0</c:v>
                </c:pt>
                <c:pt idx="27">
                  <c:v>0</c:v>
                </c:pt>
                <c:pt idx="28">
                  <c:v>0</c:v>
                </c:pt>
                <c:pt idx="29">
                  <c:v>0</c:v>
                </c:pt>
                <c:pt idx="30">
                  <c:v>0</c:v>
                </c:pt>
                <c:pt idx="31">
                  <c:v>0</c:v>
                </c:pt>
                <c:pt idx="32">
                  <c:v>0</c:v>
                </c:pt>
                <c:pt idx="33">
                  <c:v>0</c:v>
                </c:pt>
                <c:pt idx="34">
                  <c:v>0</c:v>
                </c:pt>
                <c:pt idx="35">
                  <c:v>0</c:v>
                </c:pt>
                <c:pt idx="36">
                  <c:v>6.6735813081228716</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2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8</c:f>
              <c:numCache>
                <c:formatCode>General</c:formatCode>
                <c:ptCount val="37"/>
                <c:pt idx="0">
                  <c:v>8.5</c:v>
                </c:pt>
                <c:pt idx="1">
                  <c:v>10</c:v>
                </c:pt>
                <c:pt idx="2">
                  <c:v>9.5</c:v>
                </c:pt>
                <c:pt idx="3">
                  <c:v>9</c:v>
                </c:pt>
                <c:pt idx="4">
                  <c:v>9.5</c:v>
                </c:pt>
                <c:pt idx="5">
                  <c:v>9</c:v>
                </c:pt>
                <c:pt idx="6">
                  <c:v>9.5</c:v>
                </c:pt>
                <c:pt idx="7">
                  <c:v>4</c:v>
                </c:pt>
                <c:pt idx="8">
                  <c:v>4</c:v>
                </c:pt>
                <c:pt idx="9">
                  <c:v>8.5</c:v>
                </c:pt>
                <c:pt idx="10">
                  <c:v>8.5</c:v>
                </c:pt>
                <c:pt idx="11">
                  <c:v>8.5</c:v>
                </c:pt>
                <c:pt idx="12">
                  <c:v>9</c:v>
                </c:pt>
                <c:pt idx="13">
                  <c:v>10</c:v>
                </c:pt>
                <c:pt idx="14">
                  <c:v>10</c:v>
                </c:pt>
                <c:pt idx="15">
                  <c:v>10</c:v>
                </c:pt>
                <c:pt idx="16">
                  <c:v>10</c:v>
                </c:pt>
                <c:pt idx="17">
                  <c:v>10</c:v>
                </c:pt>
                <c:pt idx="18">
                  <c:v>10</c:v>
                </c:pt>
                <c:pt idx="19">
                  <c:v>10</c:v>
                </c:pt>
                <c:pt idx="20">
                  <c:v>10</c:v>
                </c:pt>
                <c:pt idx="21">
                  <c:v>10</c:v>
                </c:pt>
                <c:pt idx="22">
                  <c:v>10</c:v>
                </c:pt>
                <c:pt idx="23">
                  <c:v>10</c:v>
                </c:pt>
                <c:pt idx="24">
                  <c:v>7</c:v>
                </c:pt>
                <c:pt idx="25">
                  <c:v>10</c:v>
                </c:pt>
                <c:pt idx="26">
                  <c:v>10</c:v>
                </c:pt>
                <c:pt idx="27">
                  <c:v>10</c:v>
                </c:pt>
                <c:pt idx="28">
                  <c:v>10</c:v>
                </c:pt>
                <c:pt idx="29">
                  <c:v>10</c:v>
                </c:pt>
                <c:pt idx="30">
                  <c:v>10</c:v>
                </c:pt>
                <c:pt idx="31">
                  <c:v>10</c:v>
                </c:pt>
                <c:pt idx="32">
                  <c:v>10</c:v>
                </c:pt>
                <c:pt idx="33">
                  <c:v>10</c:v>
                </c:pt>
                <c:pt idx="34">
                  <c:v>10</c:v>
                </c:pt>
                <c:pt idx="35">
                  <c:v>10</c:v>
                </c:pt>
                <c:pt idx="36">
                  <c:v>6</c:v>
                </c:pt>
              </c:numCache>
            </c:numRef>
          </c:xVal>
          <c:yVal>
            <c:numRef>
              <c:f>Sheet1!$B$2:$B$38</c:f>
              <c:numCache>
                <c:formatCode>General</c:formatCode>
                <c:ptCount val="37"/>
                <c:pt idx="0">
                  <c:v>0</c:v>
                </c:pt>
                <c:pt idx="1">
                  <c:v>0</c:v>
                </c:pt>
                <c:pt idx="2">
                  <c:v>0</c:v>
                </c:pt>
                <c:pt idx="3">
                  <c:v>0</c:v>
                </c:pt>
                <c:pt idx="4">
                  <c:v>0</c:v>
                </c:pt>
                <c:pt idx="5">
                  <c:v>0</c:v>
                </c:pt>
                <c:pt idx="6">
                  <c:v>0</c:v>
                </c:pt>
                <c:pt idx="7">
                  <c:v>0.58664971314511916</c:v>
                </c:pt>
                <c:pt idx="8">
                  <c:v>0.53240658421394194</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7.0868639048581716</c:v>
                </c:pt>
                <c:pt idx="25">
                  <c:v>0</c:v>
                </c:pt>
                <c:pt idx="26">
                  <c:v>0</c:v>
                </c:pt>
                <c:pt idx="27">
                  <c:v>0</c:v>
                </c:pt>
                <c:pt idx="28">
                  <c:v>0</c:v>
                </c:pt>
                <c:pt idx="29">
                  <c:v>0</c:v>
                </c:pt>
                <c:pt idx="30">
                  <c:v>0</c:v>
                </c:pt>
                <c:pt idx="31">
                  <c:v>0</c:v>
                </c:pt>
                <c:pt idx="32">
                  <c:v>0</c:v>
                </c:pt>
                <c:pt idx="33">
                  <c:v>0</c:v>
                </c:pt>
                <c:pt idx="34">
                  <c:v>0</c:v>
                </c:pt>
                <c:pt idx="35">
                  <c:v>0</c:v>
                </c:pt>
                <c:pt idx="36">
                  <c:v>6.6735813081228716</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3.2"/>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8.504236685829806"/>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c:v>
                </c:pt>
                <c:pt idx="1">
                  <c:v>-0.17500000000000004</c:v>
                </c:pt>
                <c:pt idx="2">
                  <c:v>1.25</c:v>
                </c:pt>
                <c:pt idx="3">
                  <c:v>-0.8890000000000000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3</c:f>
              <c:numCache>
                <c:formatCode>General</c:formatCode>
                <c:ptCount val="42"/>
                <c:pt idx="0">
                  <c:v>0.65</c:v>
                </c:pt>
                <c:pt idx="1">
                  <c:v>0.65</c:v>
                </c:pt>
                <c:pt idx="2">
                  <c:v>0.1</c:v>
                </c:pt>
                <c:pt idx="3">
                  <c:v>0.1</c:v>
                </c:pt>
                <c:pt idx="4">
                  <c:v>0.1</c:v>
                </c:pt>
                <c:pt idx="5">
                  <c:v>0.1</c:v>
                </c:pt>
                <c:pt idx="6">
                  <c:v>0.1</c:v>
                </c:pt>
                <c:pt idx="7">
                  <c:v>0.1</c:v>
                </c:pt>
                <c:pt idx="8">
                  <c:v>0.1</c:v>
                </c:pt>
                <c:pt idx="9">
                  <c:v>0.1</c:v>
                </c:pt>
                <c:pt idx="10">
                  <c:v>0.5</c:v>
                </c:pt>
                <c:pt idx="11">
                  <c:v>0.55000000000000004</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05</c:v>
                </c:pt>
                <c:pt idx="39">
                  <c:v>0.1</c:v>
                </c:pt>
                <c:pt idx="40">
                  <c:v>0.35</c:v>
                </c:pt>
                <c:pt idx="41">
                  <c:v>0.4</c:v>
                </c:pt>
              </c:numCache>
            </c:numRef>
          </c:xVal>
          <c:yVal>
            <c:numRef>
              <c:f>Sheet1!$B$2:$B$43</c:f>
              <c:numCache>
                <c:formatCode>General</c:formatCode>
                <c:ptCount val="42"/>
                <c:pt idx="0">
                  <c:v>0.87388193202146691</c:v>
                </c:pt>
                <c:pt idx="1">
                  <c:v>0.40657113909393539</c:v>
                </c:pt>
                <c:pt idx="2">
                  <c:v>3.6064811690697382E-3</c:v>
                </c:pt>
                <c:pt idx="3">
                  <c:v>0.18428223887646261</c:v>
                </c:pt>
                <c:pt idx="4">
                  <c:v>4.4485855792578528E-2</c:v>
                </c:pt>
                <c:pt idx="5">
                  <c:v>1.074536469066999E-2</c:v>
                </c:pt>
                <c:pt idx="6">
                  <c:v>0</c:v>
                </c:pt>
                <c:pt idx="7">
                  <c:v>4.4286341356353787E-2</c:v>
                </c:pt>
                <c:pt idx="8">
                  <c:v>9.5030221921740862E-2</c:v>
                </c:pt>
                <c:pt idx="9">
                  <c:v>0.15755358841173461</c:v>
                </c:pt>
                <c:pt idx="10">
                  <c:v>0.66535516966160668</c:v>
                </c:pt>
                <c:pt idx="11">
                  <c:v>0.35411594345179648</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1.208548268238762E-2</c:v>
                </c:pt>
                <c:pt idx="39">
                  <c:v>1.9414048711613129E-2</c:v>
                </c:pt>
                <c:pt idx="40">
                  <c:v>8.4190832553788592E-2</c:v>
                </c:pt>
                <c:pt idx="41">
                  <c:v>0.1560895940270647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3</c:f>
              <c:numCache>
                <c:formatCode>General</c:formatCode>
                <c:ptCount val="42"/>
                <c:pt idx="0">
                  <c:v>5</c:v>
                </c:pt>
                <c:pt idx="1">
                  <c:v>4.5</c:v>
                </c:pt>
                <c:pt idx="2">
                  <c:v>27</c:v>
                </c:pt>
                <c:pt idx="3">
                  <c:v>27</c:v>
                </c:pt>
                <c:pt idx="4">
                  <c:v>27</c:v>
                </c:pt>
                <c:pt idx="5">
                  <c:v>27</c:v>
                </c:pt>
                <c:pt idx="6">
                  <c:v>24.5</c:v>
                </c:pt>
                <c:pt idx="7">
                  <c:v>24</c:v>
                </c:pt>
                <c:pt idx="8">
                  <c:v>24.5</c:v>
                </c:pt>
                <c:pt idx="9">
                  <c:v>24</c:v>
                </c:pt>
                <c:pt idx="10">
                  <c:v>6.5</c:v>
                </c:pt>
                <c:pt idx="11">
                  <c:v>6</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4</c:v>
                </c:pt>
                <c:pt idx="39">
                  <c:v>13.5</c:v>
                </c:pt>
                <c:pt idx="40">
                  <c:v>6.5</c:v>
                </c:pt>
                <c:pt idx="41">
                  <c:v>6</c:v>
                </c:pt>
              </c:numCache>
            </c:numRef>
          </c:xVal>
          <c:yVal>
            <c:numRef>
              <c:f>Sheet1!$B$2:$B$43</c:f>
              <c:numCache>
                <c:formatCode>General</c:formatCode>
                <c:ptCount val="42"/>
                <c:pt idx="0">
                  <c:v>0.87388193202146691</c:v>
                </c:pt>
                <c:pt idx="1">
                  <c:v>0.40657113909393539</c:v>
                </c:pt>
                <c:pt idx="2">
                  <c:v>3.6064811690697382E-3</c:v>
                </c:pt>
                <c:pt idx="3">
                  <c:v>0.18428223887646261</c:v>
                </c:pt>
                <c:pt idx="4">
                  <c:v>4.4485855792578528E-2</c:v>
                </c:pt>
                <c:pt idx="5">
                  <c:v>1.074536469066999E-2</c:v>
                </c:pt>
                <c:pt idx="6">
                  <c:v>0</c:v>
                </c:pt>
                <c:pt idx="7">
                  <c:v>4.4286341356353787E-2</c:v>
                </c:pt>
                <c:pt idx="8">
                  <c:v>9.5030221921740862E-2</c:v>
                </c:pt>
                <c:pt idx="9">
                  <c:v>0.15755358841173461</c:v>
                </c:pt>
                <c:pt idx="10">
                  <c:v>0.66535516966160668</c:v>
                </c:pt>
                <c:pt idx="11">
                  <c:v>0.35411594345179648</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1.208548268238762E-2</c:v>
                </c:pt>
                <c:pt idx="39">
                  <c:v>1.9414048711613129E-2</c:v>
                </c:pt>
                <c:pt idx="40">
                  <c:v>8.4190832553788592E-2</c:v>
                </c:pt>
                <c:pt idx="41">
                  <c:v>0.1560895940270647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2.4"/>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486583184257603"/>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0</c:f>
              <c:numCache>
                <c:formatCode>General</c:formatCode>
                <c:ptCount val="19"/>
                <c:pt idx="0">
                  <c:v>0.25</c:v>
                </c:pt>
                <c:pt idx="1">
                  <c:v>0.25</c:v>
                </c:pt>
                <c:pt idx="2">
                  <c:v>0.3</c:v>
                </c:pt>
                <c:pt idx="3">
                  <c:v>0.3</c:v>
                </c:pt>
                <c:pt idx="4">
                  <c:v>0.60000000000000009</c:v>
                </c:pt>
                <c:pt idx="5">
                  <c:v>0.65</c:v>
                </c:pt>
                <c:pt idx="6">
                  <c:v>0.05</c:v>
                </c:pt>
                <c:pt idx="7">
                  <c:v>0.05</c:v>
                </c:pt>
                <c:pt idx="8">
                  <c:v>0.1</c:v>
                </c:pt>
                <c:pt idx="9">
                  <c:v>0.05</c:v>
                </c:pt>
                <c:pt idx="10">
                  <c:v>0.1</c:v>
                </c:pt>
                <c:pt idx="11">
                  <c:v>0.1</c:v>
                </c:pt>
                <c:pt idx="12">
                  <c:v>0.1</c:v>
                </c:pt>
                <c:pt idx="13">
                  <c:v>0.1</c:v>
                </c:pt>
                <c:pt idx="14">
                  <c:v>0.1</c:v>
                </c:pt>
                <c:pt idx="15">
                  <c:v>0.1</c:v>
                </c:pt>
                <c:pt idx="16">
                  <c:v>0.1</c:v>
                </c:pt>
                <c:pt idx="17">
                  <c:v>0.1</c:v>
                </c:pt>
                <c:pt idx="18">
                  <c:v>0.1</c:v>
                </c:pt>
              </c:numCache>
            </c:numRef>
          </c:xVal>
          <c:yVal>
            <c:numRef>
              <c:f>Sheet1!$B$2:$B$20</c:f>
              <c:numCache>
                <c:formatCode>General</c:formatCode>
                <c:ptCount val="19"/>
                <c:pt idx="0">
                  <c:v>0</c:v>
                </c:pt>
                <c:pt idx="1">
                  <c:v>0</c:v>
                </c:pt>
                <c:pt idx="2">
                  <c:v>0</c:v>
                </c:pt>
                <c:pt idx="3">
                  <c:v>0</c:v>
                </c:pt>
                <c:pt idx="4">
                  <c:v>0</c:v>
                </c:pt>
                <c:pt idx="5">
                  <c:v>0</c:v>
                </c:pt>
                <c:pt idx="6">
                  <c:v>0</c:v>
                </c:pt>
                <c:pt idx="7">
                  <c:v>4.0487285410525882E-2</c:v>
                </c:pt>
                <c:pt idx="8">
                  <c:v>0</c:v>
                </c:pt>
                <c:pt idx="9">
                  <c:v>2.6039775730140859E-2</c:v>
                </c:pt>
                <c:pt idx="10">
                  <c:v>0.13263436918561239</c:v>
                </c:pt>
                <c:pt idx="11">
                  <c:v>0.13587093257650229</c:v>
                </c:pt>
                <c:pt idx="12">
                  <c:v>0.1014771618985696</c:v>
                </c:pt>
                <c:pt idx="13">
                  <c:v>0.22680211279878809</c:v>
                </c:pt>
                <c:pt idx="14">
                  <c:v>0.18786299617503269</c:v>
                </c:pt>
                <c:pt idx="15">
                  <c:v>0.13604560749668199</c:v>
                </c:pt>
                <c:pt idx="16">
                  <c:v>0.20910067712132019</c:v>
                </c:pt>
                <c:pt idx="17">
                  <c:v>0.16867160794838021</c:v>
                </c:pt>
                <c:pt idx="18">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7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0</c:f>
              <c:numCache>
                <c:formatCode>General</c:formatCode>
                <c:ptCount val="19"/>
                <c:pt idx="0">
                  <c:v>3</c:v>
                </c:pt>
                <c:pt idx="1">
                  <c:v>3</c:v>
                </c:pt>
                <c:pt idx="2">
                  <c:v>3</c:v>
                </c:pt>
                <c:pt idx="3">
                  <c:v>3</c:v>
                </c:pt>
                <c:pt idx="4">
                  <c:v>1.5</c:v>
                </c:pt>
                <c:pt idx="5">
                  <c:v>1.5</c:v>
                </c:pt>
                <c:pt idx="6">
                  <c:v>5.5</c:v>
                </c:pt>
                <c:pt idx="7">
                  <c:v>5.5</c:v>
                </c:pt>
                <c:pt idx="8">
                  <c:v>5.5</c:v>
                </c:pt>
                <c:pt idx="9">
                  <c:v>1</c:v>
                </c:pt>
                <c:pt idx="10">
                  <c:v>1</c:v>
                </c:pt>
                <c:pt idx="11">
                  <c:v>1</c:v>
                </c:pt>
                <c:pt idx="12">
                  <c:v>1</c:v>
                </c:pt>
                <c:pt idx="13">
                  <c:v>1</c:v>
                </c:pt>
                <c:pt idx="14">
                  <c:v>1</c:v>
                </c:pt>
                <c:pt idx="15">
                  <c:v>1</c:v>
                </c:pt>
                <c:pt idx="16">
                  <c:v>1</c:v>
                </c:pt>
                <c:pt idx="17">
                  <c:v>1</c:v>
                </c:pt>
                <c:pt idx="18">
                  <c:v>1</c:v>
                </c:pt>
              </c:numCache>
            </c:numRef>
          </c:xVal>
          <c:yVal>
            <c:numRef>
              <c:f>Sheet1!$B$2:$B$20</c:f>
              <c:numCache>
                <c:formatCode>General</c:formatCode>
                <c:ptCount val="19"/>
                <c:pt idx="0">
                  <c:v>0</c:v>
                </c:pt>
                <c:pt idx="1">
                  <c:v>0</c:v>
                </c:pt>
                <c:pt idx="2">
                  <c:v>0</c:v>
                </c:pt>
                <c:pt idx="3">
                  <c:v>0</c:v>
                </c:pt>
                <c:pt idx="4">
                  <c:v>0</c:v>
                </c:pt>
                <c:pt idx="5">
                  <c:v>0</c:v>
                </c:pt>
                <c:pt idx="6">
                  <c:v>0</c:v>
                </c:pt>
                <c:pt idx="7">
                  <c:v>4.0487285410525882E-2</c:v>
                </c:pt>
                <c:pt idx="8">
                  <c:v>0</c:v>
                </c:pt>
                <c:pt idx="9">
                  <c:v>2.6039775730140859E-2</c:v>
                </c:pt>
                <c:pt idx="10">
                  <c:v>0.13263436918561239</c:v>
                </c:pt>
                <c:pt idx="11">
                  <c:v>0.13587093257650229</c:v>
                </c:pt>
                <c:pt idx="12">
                  <c:v>0.1014771618985696</c:v>
                </c:pt>
                <c:pt idx="13">
                  <c:v>0.22680211279878809</c:v>
                </c:pt>
                <c:pt idx="14">
                  <c:v>0.18786299617503269</c:v>
                </c:pt>
                <c:pt idx="15">
                  <c:v>0.13604560749668199</c:v>
                </c:pt>
                <c:pt idx="16">
                  <c:v>0.20910067712132019</c:v>
                </c:pt>
                <c:pt idx="17">
                  <c:v>0.16867160794838021</c:v>
                </c:pt>
                <c:pt idx="18">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6.6"/>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c:f>
              <c:numCache>
                <c:formatCode>General</c:formatCode>
                <c:ptCount val="2"/>
                <c:pt idx="0">
                  <c:v>0.25</c:v>
                </c:pt>
                <c:pt idx="1">
                  <c:v>0.3</c:v>
                </c:pt>
              </c:numCache>
            </c:numRef>
          </c:xVal>
          <c:yVal>
            <c:numRef>
              <c:f>Sheet1!$B$2:$B$3</c:f>
              <c:numCache>
                <c:formatCode>General</c:formatCode>
                <c:ptCount val="2"/>
                <c:pt idx="0">
                  <c:v>0.27296962627611893</c:v>
                </c:pt>
                <c:pt idx="1">
                  <c:v>0.1745382543030938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1396306034424751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c:f>
              <c:numCache>
                <c:formatCode>General</c:formatCode>
                <c:ptCount val="2"/>
                <c:pt idx="0">
                  <c:v>11.5</c:v>
                </c:pt>
                <c:pt idx="1">
                  <c:v>11</c:v>
                </c:pt>
              </c:numCache>
            </c:numRef>
          </c:xVal>
          <c:yVal>
            <c:numRef>
              <c:f>Sheet1!$B$2:$B$3</c:f>
              <c:numCache>
                <c:formatCode>General</c:formatCode>
                <c:ptCount val="2"/>
                <c:pt idx="0">
                  <c:v>0.27296962627611893</c:v>
                </c:pt>
                <c:pt idx="1">
                  <c:v>0.1745382543030938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3.799999999999999"/>
          <c:min val="8.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56355153134264"/>
          <c:min val="0.13963060344247516"/>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0.15</c:v>
                </c:pt>
                <c:pt idx="1">
                  <c:v>0.05</c:v>
                </c:pt>
                <c:pt idx="2">
                  <c:v>0.2</c:v>
                </c:pt>
                <c:pt idx="3">
                  <c:v>0.4</c:v>
                </c:pt>
                <c:pt idx="4">
                  <c:v>0.4</c:v>
                </c:pt>
                <c:pt idx="5">
                  <c:v>0.45</c:v>
                </c:pt>
                <c:pt idx="6">
                  <c:v>0.60000000000000009</c:v>
                </c:pt>
                <c:pt idx="7">
                  <c:v>0.70000000000000007</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9</c:f>
              <c:numCache>
                <c:formatCode>General</c:formatCode>
                <c:ptCount val="8"/>
                <c:pt idx="0">
                  <c:v>21.5</c:v>
                </c:pt>
                <c:pt idx="1">
                  <c:v>23.5</c:v>
                </c:pt>
                <c:pt idx="2">
                  <c:v>20</c:v>
                </c:pt>
                <c:pt idx="3">
                  <c:v>15</c:v>
                </c:pt>
                <c:pt idx="4">
                  <c:v>15</c:v>
                </c:pt>
                <c:pt idx="5">
                  <c:v>13.5</c:v>
                </c:pt>
                <c:pt idx="6">
                  <c:v>9.5</c:v>
                </c:pt>
                <c:pt idx="7">
                  <c:v>7.5</c:v>
                </c:pt>
              </c:numCache>
            </c:numRef>
          </c:xVal>
          <c:yVal>
            <c:numRef>
              <c:f>Sheet1!$B$2:$B$9</c:f>
              <c:numCache>
                <c:formatCode>General</c:formatCode>
                <c:ptCount val="8"/>
                <c:pt idx="0">
                  <c:v>0.1243009157629663</c:v>
                </c:pt>
                <c:pt idx="1">
                  <c:v>0</c:v>
                </c:pt>
                <c:pt idx="2">
                  <c:v>1.3902667037517771</c:v>
                </c:pt>
                <c:pt idx="3">
                  <c:v>4.7191370911621444</c:v>
                </c:pt>
                <c:pt idx="4">
                  <c:v>2.0588262584087218</c:v>
                </c:pt>
                <c:pt idx="5">
                  <c:v>0.54618418000463931</c:v>
                </c:pt>
                <c:pt idx="6">
                  <c:v>2.3417750929368029</c:v>
                </c:pt>
                <c:pt idx="7">
                  <c:v>1.30444535940073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8.2"/>
          <c:min val="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662964509394572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0.15</c:v>
                </c:pt>
                <c:pt idx="1">
                  <c:v>0.2</c:v>
                </c:pt>
                <c:pt idx="2">
                  <c:v>0</c:v>
                </c:pt>
                <c:pt idx="3">
                  <c:v>0</c:v>
                </c:pt>
                <c:pt idx="4">
                  <c:v>0</c:v>
                </c:pt>
                <c:pt idx="5">
                  <c:v>0</c:v>
                </c:pt>
                <c:pt idx="6">
                  <c:v>0</c:v>
                </c:pt>
                <c:pt idx="7">
                  <c:v>0</c:v>
                </c:pt>
                <c:pt idx="8">
                  <c:v>0</c:v>
                </c:pt>
                <c:pt idx="9">
                  <c:v>0</c:v>
                </c:pt>
                <c:pt idx="10">
                  <c:v>0</c:v>
                </c:pt>
                <c:pt idx="11">
                  <c:v>0</c:v>
                </c:pt>
                <c:pt idx="12">
                  <c:v>0</c:v>
                </c:pt>
                <c:pt idx="13">
                  <c:v>0.70000000000000007</c:v>
                </c:pt>
                <c:pt idx="14">
                  <c:v>0</c:v>
                </c:pt>
                <c:pt idx="15">
                  <c:v>0</c:v>
                </c:pt>
                <c:pt idx="16">
                  <c:v>0</c:v>
                </c:pt>
                <c:pt idx="17">
                  <c:v>0</c:v>
                </c:pt>
                <c:pt idx="18">
                  <c:v>0</c:v>
                </c:pt>
                <c:pt idx="19">
                  <c:v>0</c:v>
                </c:pt>
                <c:pt idx="20">
                  <c:v>0</c:v>
                </c:pt>
                <c:pt idx="21">
                  <c:v>0</c:v>
                </c:pt>
                <c:pt idx="22">
                  <c:v>0</c:v>
                </c:pt>
                <c:pt idx="23">
                  <c:v>0</c:v>
                </c:pt>
                <c:pt idx="24">
                  <c:v>0</c:v>
                </c:pt>
                <c:pt idx="25">
                  <c:v>0.65</c:v>
                </c:pt>
              </c:numCache>
            </c:numRef>
          </c:xVal>
          <c:yVal>
            <c:numRef>
              <c:f>Sheet1!$B$2:$B$27</c:f>
              <c:numCache>
                <c:formatCode>General</c:formatCode>
                <c:ptCount val="26"/>
                <c:pt idx="0">
                  <c:v>6.7530926961531942E-2</c:v>
                </c:pt>
                <c:pt idx="1">
                  <c:v>1.42812303829253E-2</c:v>
                </c:pt>
                <c:pt idx="2">
                  <c:v>0</c:v>
                </c:pt>
                <c:pt idx="3">
                  <c:v>0</c:v>
                </c:pt>
                <c:pt idx="4">
                  <c:v>0</c:v>
                </c:pt>
                <c:pt idx="5">
                  <c:v>0</c:v>
                </c:pt>
                <c:pt idx="6">
                  <c:v>0</c:v>
                </c:pt>
                <c:pt idx="7">
                  <c:v>0</c:v>
                </c:pt>
                <c:pt idx="8">
                  <c:v>0</c:v>
                </c:pt>
                <c:pt idx="9">
                  <c:v>0</c:v>
                </c:pt>
                <c:pt idx="10">
                  <c:v>0</c:v>
                </c:pt>
                <c:pt idx="11">
                  <c:v>0</c:v>
                </c:pt>
                <c:pt idx="12">
                  <c:v>0</c:v>
                </c:pt>
                <c:pt idx="13">
                  <c:v>1.664441313454075</c:v>
                </c:pt>
                <c:pt idx="14">
                  <c:v>0</c:v>
                </c:pt>
                <c:pt idx="15">
                  <c:v>0</c:v>
                </c:pt>
                <c:pt idx="16">
                  <c:v>0</c:v>
                </c:pt>
                <c:pt idx="17">
                  <c:v>0</c:v>
                </c:pt>
                <c:pt idx="18">
                  <c:v>0</c:v>
                </c:pt>
                <c:pt idx="19">
                  <c:v>0</c:v>
                </c:pt>
                <c:pt idx="20">
                  <c:v>0</c:v>
                </c:pt>
                <c:pt idx="21">
                  <c:v>0</c:v>
                </c:pt>
                <c:pt idx="22">
                  <c:v>0</c:v>
                </c:pt>
                <c:pt idx="23">
                  <c:v>0</c:v>
                </c:pt>
                <c:pt idx="24">
                  <c:v>0</c:v>
                </c:pt>
                <c:pt idx="25">
                  <c:v>5.9169822980092587E-2</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7</c:f>
              <c:numCache>
                <c:formatCode>General</c:formatCode>
                <c:ptCount val="26"/>
                <c:pt idx="0">
                  <c:v>15</c:v>
                </c:pt>
                <c:pt idx="1">
                  <c:v>14</c:v>
                </c:pt>
                <c:pt idx="2">
                  <c:v>15</c:v>
                </c:pt>
                <c:pt idx="3">
                  <c:v>15</c:v>
                </c:pt>
                <c:pt idx="4">
                  <c:v>15</c:v>
                </c:pt>
                <c:pt idx="5">
                  <c:v>15</c:v>
                </c:pt>
                <c:pt idx="6">
                  <c:v>15</c:v>
                </c:pt>
                <c:pt idx="7">
                  <c:v>15</c:v>
                </c:pt>
                <c:pt idx="8">
                  <c:v>15</c:v>
                </c:pt>
                <c:pt idx="9">
                  <c:v>15</c:v>
                </c:pt>
                <c:pt idx="10">
                  <c:v>15</c:v>
                </c:pt>
                <c:pt idx="11">
                  <c:v>15</c:v>
                </c:pt>
                <c:pt idx="12">
                  <c:v>15</c:v>
                </c:pt>
                <c:pt idx="13">
                  <c:v>4.5</c:v>
                </c:pt>
                <c:pt idx="14">
                  <c:v>15</c:v>
                </c:pt>
                <c:pt idx="15">
                  <c:v>15</c:v>
                </c:pt>
                <c:pt idx="16">
                  <c:v>15</c:v>
                </c:pt>
                <c:pt idx="17">
                  <c:v>15</c:v>
                </c:pt>
                <c:pt idx="18">
                  <c:v>15</c:v>
                </c:pt>
                <c:pt idx="19">
                  <c:v>15</c:v>
                </c:pt>
                <c:pt idx="20">
                  <c:v>15</c:v>
                </c:pt>
                <c:pt idx="21">
                  <c:v>15</c:v>
                </c:pt>
                <c:pt idx="22">
                  <c:v>15</c:v>
                </c:pt>
                <c:pt idx="23">
                  <c:v>15</c:v>
                </c:pt>
                <c:pt idx="24">
                  <c:v>15</c:v>
                </c:pt>
                <c:pt idx="25">
                  <c:v>5</c:v>
                </c:pt>
              </c:numCache>
            </c:numRef>
          </c:xVal>
          <c:yVal>
            <c:numRef>
              <c:f>Sheet1!$B$2:$B$27</c:f>
              <c:numCache>
                <c:formatCode>General</c:formatCode>
                <c:ptCount val="26"/>
                <c:pt idx="0">
                  <c:v>6.7530926961531942E-2</c:v>
                </c:pt>
                <c:pt idx="1">
                  <c:v>1.42812303829253E-2</c:v>
                </c:pt>
                <c:pt idx="2">
                  <c:v>0</c:v>
                </c:pt>
                <c:pt idx="3">
                  <c:v>0</c:v>
                </c:pt>
                <c:pt idx="4">
                  <c:v>0</c:v>
                </c:pt>
                <c:pt idx="5">
                  <c:v>0</c:v>
                </c:pt>
                <c:pt idx="6">
                  <c:v>0</c:v>
                </c:pt>
                <c:pt idx="7">
                  <c:v>0</c:v>
                </c:pt>
                <c:pt idx="8">
                  <c:v>0</c:v>
                </c:pt>
                <c:pt idx="9">
                  <c:v>0</c:v>
                </c:pt>
                <c:pt idx="10">
                  <c:v>0</c:v>
                </c:pt>
                <c:pt idx="11">
                  <c:v>0</c:v>
                </c:pt>
                <c:pt idx="12">
                  <c:v>0</c:v>
                </c:pt>
                <c:pt idx="13">
                  <c:v>1.664441313454075</c:v>
                </c:pt>
                <c:pt idx="14">
                  <c:v>0</c:v>
                </c:pt>
                <c:pt idx="15">
                  <c:v>0</c:v>
                </c:pt>
                <c:pt idx="16">
                  <c:v>0</c:v>
                </c:pt>
                <c:pt idx="17">
                  <c:v>0</c:v>
                </c:pt>
                <c:pt idx="18">
                  <c:v>0</c:v>
                </c:pt>
                <c:pt idx="19">
                  <c:v>0</c:v>
                </c:pt>
                <c:pt idx="20">
                  <c:v>0</c:v>
                </c:pt>
                <c:pt idx="21">
                  <c:v>0</c:v>
                </c:pt>
                <c:pt idx="22">
                  <c:v>0</c:v>
                </c:pt>
                <c:pt idx="23">
                  <c:v>0</c:v>
                </c:pt>
                <c:pt idx="24">
                  <c:v>0</c:v>
                </c:pt>
                <c:pt idx="25">
                  <c:v>5.9169822980092587E-2</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8"/>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973295761448904"/>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Harry's</c:v>
                </c:pt>
                <c:pt idx="4">
                  <c:v>Equate</c:v>
                </c:pt>
              </c:strCache>
            </c:strRef>
          </c:cat>
          <c:val>
            <c:numRef>
              <c:f>Sheet1!$B$2:$B$6</c:f>
              <c:numCache>
                <c:formatCode>General</c:formatCode>
                <c:ptCount val="5"/>
                <c:pt idx="0">
                  <c:v>1.7624472228571966</c:v>
                </c:pt>
                <c:pt idx="1">
                  <c:v>2.6360938181587117</c:v>
                </c:pt>
                <c:pt idx="2">
                  <c:v>-0.4658879683808137</c:v>
                </c:pt>
                <c:pt idx="3">
                  <c:v>-1</c:v>
                </c:pt>
                <c:pt idx="4">
                  <c:v>-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0.2</c:v>
                </c:pt>
                <c:pt idx="1">
                  <c:v>0.25</c:v>
                </c:pt>
                <c:pt idx="2">
                  <c:v>0.70000000000000007</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84000000000000008"/>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12</c:v>
                </c:pt>
                <c:pt idx="1">
                  <c:v>11.5</c:v>
                </c:pt>
                <c:pt idx="2">
                  <c:v>4.5</c:v>
                </c:pt>
              </c:numCache>
            </c:numRef>
          </c:xVal>
          <c:yVal>
            <c:numRef>
              <c:f>Sheet1!$B$2:$B$4</c:f>
              <c:numCache>
                <c:formatCode>General</c:formatCode>
                <c:ptCount val="3"/>
                <c:pt idx="0">
                  <c:v>6.1371841155234648E-2</c:v>
                </c:pt>
                <c:pt idx="1">
                  <c:v>0.29048851105772189</c:v>
                </c:pt>
                <c:pt idx="2">
                  <c:v>0.263657076483202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4.399999999999999"/>
          <c:min val="3.6"/>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4858621326926625"/>
          <c:min val="4.9097472924187729E-2"/>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61D-4DEE-A0DA-7BC1C67947EA}"/>
                </c:ext>
              </c:extLst>
            </c:dLbl>
            <c:dLbl>
              <c:idx val="12"/>
              <c:tx>
                <c:rich>
                  <a:bodyPr/>
                  <a:lstStyle/>
                  <a:p>
                    <a:r>
                      <a:rPr sz="800"/>
                      <a:t>1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1D-4DEE-A0DA-7BC1C67947EA}"/>
                </c:ext>
              </c:extLst>
            </c:dLbl>
            <c:dLbl>
              <c:idx val="24"/>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1D-4DEE-A0DA-7BC1C67947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2</c:v>
                </c:pt>
                <c:pt idx="2">
                  <c:v>102</c:v>
                </c:pt>
                <c:pt idx="3">
                  <c:v>98</c:v>
                </c:pt>
                <c:pt idx="4">
                  <c:v>95</c:v>
                </c:pt>
                <c:pt idx="5">
                  <c:v>114</c:v>
                </c:pt>
                <c:pt idx="6">
                  <c:v>97</c:v>
                </c:pt>
                <c:pt idx="7">
                  <c:v>99</c:v>
                </c:pt>
                <c:pt idx="8">
                  <c:v>94</c:v>
                </c:pt>
                <c:pt idx="9">
                  <c:v>101</c:v>
                </c:pt>
                <c:pt idx="10">
                  <c:v>109</c:v>
                </c:pt>
                <c:pt idx="11">
                  <c:v>117</c:v>
                </c:pt>
                <c:pt idx="12">
                  <c:v>147</c:v>
                </c:pt>
                <c:pt idx="13">
                  <c:v>105</c:v>
                </c:pt>
                <c:pt idx="14">
                  <c:v>121</c:v>
                </c:pt>
                <c:pt idx="15">
                  <c:v>112</c:v>
                </c:pt>
                <c:pt idx="16">
                  <c:v>88</c:v>
                </c:pt>
                <c:pt idx="17">
                  <c:v>95</c:v>
                </c:pt>
                <c:pt idx="18">
                  <c:v>83</c:v>
                </c:pt>
                <c:pt idx="19">
                  <c:v>86</c:v>
                </c:pt>
                <c:pt idx="20">
                  <c:v>76</c:v>
                </c:pt>
                <c:pt idx="21">
                  <c:v>91</c:v>
                </c:pt>
                <c:pt idx="22">
                  <c:v>98</c:v>
                </c:pt>
                <c:pt idx="23">
                  <c:v>92</c:v>
                </c:pt>
                <c:pt idx="24">
                  <c:v>115</c:v>
                </c:pt>
                <c:pt idx="25">
                  <c:v>80</c:v>
                </c:pt>
                <c:pt idx="26">
                  <c:v>10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7C6-4D88-8C1C-5E8E5245E74D}"/>
                </c:ext>
              </c:extLst>
            </c:dLbl>
            <c:dLbl>
              <c:idx val="23"/>
              <c:tx>
                <c:rich>
                  <a:bodyPr/>
                  <a:lstStyle/>
                  <a:p>
                    <a:r>
                      <a:rPr sz="800"/>
                      <a:t>1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7C6-4D88-8C1C-5E8E5245E74D}"/>
                </c:ext>
              </c:extLst>
            </c:dLbl>
            <c:dLbl>
              <c:idx val="26"/>
              <c:tx>
                <c:rich>
                  <a:bodyPr/>
                  <a:lstStyle/>
                  <a:p>
                    <a:r>
                      <a:rPr sz="800"/>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7C6-4D88-8C1C-5E8E5245E7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0</c:v>
                </c:pt>
                <c:pt idx="1">
                  <c:v>84</c:v>
                </c:pt>
                <c:pt idx="2">
                  <c:v>94</c:v>
                </c:pt>
                <c:pt idx="3">
                  <c:v>90</c:v>
                </c:pt>
                <c:pt idx="4">
                  <c:v>91</c:v>
                </c:pt>
                <c:pt idx="5">
                  <c:v>92</c:v>
                </c:pt>
                <c:pt idx="6">
                  <c:v>98</c:v>
                </c:pt>
                <c:pt idx="7">
                  <c:v>99</c:v>
                </c:pt>
                <c:pt idx="8">
                  <c:v>90</c:v>
                </c:pt>
                <c:pt idx="9">
                  <c:v>98</c:v>
                </c:pt>
                <c:pt idx="10">
                  <c:v>102</c:v>
                </c:pt>
                <c:pt idx="11">
                  <c:v>165</c:v>
                </c:pt>
                <c:pt idx="12">
                  <c:v>91</c:v>
                </c:pt>
                <c:pt idx="13">
                  <c:v>93</c:v>
                </c:pt>
                <c:pt idx="14">
                  <c:v>99</c:v>
                </c:pt>
                <c:pt idx="15">
                  <c:v>93</c:v>
                </c:pt>
                <c:pt idx="16">
                  <c:v>96</c:v>
                </c:pt>
                <c:pt idx="17">
                  <c:v>93</c:v>
                </c:pt>
                <c:pt idx="18">
                  <c:v>97</c:v>
                </c:pt>
                <c:pt idx="19">
                  <c:v>94</c:v>
                </c:pt>
                <c:pt idx="20">
                  <c:v>87</c:v>
                </c:pt>
                <c:pt idx="21">
                  <c:v>98</c:v>
                </c:pt>
                <c:pt idx="22">
                  <c:v>102</c:v>
                </c:pt>
                <c:pt idx="23">
                  <c:v>153</c:v>
                </c:pt>
                <c:pt idx="24">
                  <c:v>97</c:v>
                </c:pt>
                <c:pt idx="25">
                  <c:v>91</c:v>
                </c:pt>
                <c:pt idx="26">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AA-4755-BCA3-97088858D738}"/>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BAA-4755-BCA3-97088858D738}"/>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BAA-4755-BCA3-97088858D7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170-4967-825F-E0AE0F52DAD9}"/>
                </c:ext>
              </c:extLst>
            </c:dLbl>
            <c:dLbl>
              <c:idx val="23"/>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170-4967-825F-E0AE0F52DAD9}"/>
                </c:ext>
              </c:extLst>
            </c:dLbl>
            <c:dLbl>
              <c:idx val="26"/>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170-4967-825F-E0AE0F52DA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7</c:v>
                </c:pt>
                <c:pt idx="1">
                  <c:v>92</c:v>
                </c:pt>
                <c:pt idx="2">
                  <c:v>99</c:v>
                </c:pt>
                <c:pt idx="3">
                  <c:v>91</c:v>
                </c:pt>
                <c:pt idx="4">
                  <c:v>98</c:v>
                </c:pt>
                <c:pt idx="5">
                  <c:v>97</c:v>
                </c:pt>
                <c:pt idx="6">
                  <c:v>96</c:v>
                </c:pt>
                <c:pt idx="7">
                  <c:v>111</c:v>
                </c:pt>
                <c:pt idx="8">
                  <c:v>104</c:v>
                </c:pt>
                <c:pt idx="9">
                  <c:v>92</c:v>
                </c:pt>
                <c:pt idx="10">
                  <c:v>105</c:v>
                </c:pt>
                <c:pt idx="11">
                  <c:v>122</c:v>
                </c:pt>
                <c:pt idx="12">
                  <c:v>91</c:v>
                </c:pt>
                <c:pt idx="13">
                  <c:v>98</c:v>
                </c:pt>
                <c:pt idx="14">
                  <c:v>111</c:v>
                </c:pt>
                <c:pt idx="15">
                  <c:v>94</c:v>
                </c:pt>
                <c:pt idx="16">
                  <c:v>92</c:v>
                </c:pt>
                <c:pt idx="17">
                  <c:v>94</c:v>
                </c:pt>
                <c:pt idx="18">
                  <c:v>95</c:v>
                </c:pt>
                <c:pt idx="19">
                  <c:v>109</c:v>
                </c:pt>
                <c:pt idx="20">
                  <c:v>103</c:v>
                </c:pt>
                <c:pt idx="21">
                  <c:v>90</c:v>
                </c:pt>
                <c:pt idx="22">
                  <c:v>102</c:v>
                </c:pt>
                <c:pt idx="23">
                  <c:v>115</c:v>
                </c:pt>
                <c:pt idx="24">
                  <c:v>92</c:v>
                </c:pt>
                <c:pt idx="25">
                  <c:v>95</c:v>
                </c:pt>
                <c:pt idx="26">
                  <c:v>112</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E8C-4F18-B491-24190B705AB1}"/>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E8C-4F18-B491-24190B705AB1}"/>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E8C-4F18-B491-24190B705A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A01-4057-B640-1AE8A59CC78F}"/>
                </c:ext>
              </c:extLst>
            </c:dLbl>
            <c:dLbl>
              <c:idx val="23"/>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A01-4057-B640-1AE8A59CC78F}"/>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A01-4057-B640-1AE8A59CC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8</c:v>
                </c:pt>
                <c:pt idx="2">
                  <c:v>99</c:v>
                </c:pt>
                <c:pt idx="3">
                  <c:v>94</c:v>
                </c:pt>
                <c:pt idx="4">
                  <c:v>98</c:v>
                </c:pt>
                <c:pt idx="5">
                  <c:v>97</c:v>
                </c:pt>
                <c:pt idx="6">
                  <c:v>102</c:v>
                </c:pt>
                <c:pt idx="7">
                  <c:v>106</c:v>
                </c:pt>
                <c:pt idx="8">
                  <c:v>94</c:v>
                </c:pt>
                <c:pt idx="9">
                  <c:v>98</c:v>
                </c:pt>
                <c:pt idx="10">
                  <c:v>99</c:v>
                </c:pt>
                <c:pt idx="11">
                  <c:v>130</c:v>
                </c:pt>
                <c:pt idx="12">
                  <c:v>95</c:v>
                </c:pt>
                <c:pt idx="13">
                  <c:v>92</c:v>
                </c:pt>
                <c:pt idx="14">
                  <c:v>99</c:v>
                </c:pt>
                <c:pt idx="15">
                  <c:v>95</c:v>
                </c:pt>
                <c:pt idx="16">
                  <c:v>100</c:v>
                </c:pt>
                <c:pt idx="17">
                  <c:v>98</c:v>
                </c:pt>
                <c:pt idx="18">
                  <c:v>102</c:v>
                </c:pt>
                <c:pt idx="19">
                  <c:v>104</c:v>
                </c:pt>
                <c:pt idx="20">
                  <c:v>94</c:v>
                </c:pt>
                <c:pt idx="21">
                  <c:v>97</c:v>
                </c:pt>
                <c:pt idx="22">
                  <c:v>95</c:v>
                </c:pt>
                <c:pt idx="23">
                  <c:v>121</c:v>
                </c:pt>
                <c:pt idx="24">
                  <c:v>100</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C59-4709-B8E8-D4C3593F14E4}"/>
                </c:ext>
              </c:extLst>
            </c:dLbl>
            <c:dLbl>
              <c:idx val="23"/>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C59-4709-B8E8-D4C3593F14E4}"/>
                </c:ext>
              </c:extLst>
            </c:dLbl>
            <c:dLbl>
              <c:idx val="26"/>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C59-4709-B8E8-D4C3593F14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55</c:v>
                </c:pt>
                <c:pt idx="1">
                  <c:v>49</c:v>
                </c:pt>
                <c:pt idx="2">
                  <c:v>52</c:v>
                </c:pt>
                <c:pt idx="3">
                  <c:v>58</c:v>
                </c:pt>
                <c:pt idx="4">
                  <c:v>96</c:v>
                </c:pt>
                <c:pt idx="5">
                  <c:v>105</c:v>
                </c:pt>
                <c:pt idx="6">
                  <c:v>101</c:v>
                </c:pt>
                <c:pt idx="7">
                  <c:v>124</c:v>
                </c:pt>
                <c:pt idx="8">
                  <c:v>112</c:v>
                </c:pt>
                <c:pt idx="9">
                  <c:v>114</c:v>
                </c:pt>
                <c:pt idx="10">
                  <c:v>137</c:v>
                </c:pt>
                <c:pt idx="11">
                  <c:v>192</c:v>
                </c:pt>
                <c:pt idx="12">
                  <c:v>84</c:v>
                </c:pt>
                <c:pt idx="13">
                  <c:v>67</c:v>
                </c:pt>
                <c:pt idx="14">
                  <c:v>97</c:v>
                </c:pt>
                <c:pt idx="15">
                  <c:v>105</c:v>
                </c:pt>
                <c:pt idx="16">
                  <c:v>107</c:v>
                </c:pt>
                <c:pt idx="17">
                  <c:v>103</c:v>
                </c:pt>
                <c:pt idx="18">
                  <c:v>104</c:v>
                </c:pt>
                <c:pt idx="19">
                  <c:v>108</c:v>
                </c:pt>
                <c:pt idx="20">
                  <c:v>101</c:v>
                </c:pt>
                <c:pt idx="21">
                  <c:v>91</c:v>
                </c:pt>
                <c:pt idx="22">
                  <c:v>104</c:v>
                </c:pt>
                <c:pt idx="23">
                  <c:v>122</c:v>
                </c:pt>
                <c:pt idx="24">
                  <c:v>93</c:v>
                </c:pt>
                <c:pt idx="25">
                  <c:v>84</c:v>
                </c:pt>
                <c:pt idx="26">
                  <c:v>121</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399-4678-ABA9-A750CF646F43}"/>
                </c:ext>
              </c:extLst>
            </c:dLbl>
            <c:dLbl>
              <c:idx val="14"/>
              <c:tx>
                <c:rich>
                  <a:bodyPr/>
                  <a:lstStyle/>
                  <a:p>
                    <a:r>
                      <a:rPr sz="800"/>
                      <a:t>1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399-4678-ABA9-A750CF646F43}"/>
                </c:ext>
              </c:extLst>
            </c:dLbl>
            <c:dLbl>
              <c:idx val="26"/>
              <c:tx>
                <c:rich>
                  <a:bodyPr/>
                  <a:lstStyle/>
                  <a:p>
                    <a:r>
                      <a:rPr sz="800"/>
                      <a:t>1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399-4678-ABA9-A750CF646F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99</c:v>
                </c:pt>
                <c:pt idx="2">
                  <c:v>106</c:v>
                </c:pt>
                <c:pt idx="3">
                  <c:v>96</c:v>
                </c:pt>
                <c:pt idx="4">
                  <c:v>98</c:v>
                </c:pt>
                <c:pt idx="5">
                  <c:v>96</c:v>
                </c:pt>
                <c:pt idx="6">
                  <c:v>95</c:v>
                </c:pt>
                <c:pt idx="7">
                  <c:v>109</c:v>
                </c:pt>
                <c:pt idx="8">
                  <c:v>103</c:v>
                </c:pt>
                <c:pt idx="9">
                  <c:v>89</c:v>
                </c:pt>
                <c:pt idx="10">
                  <c:v>100</c:v>
                </c:pt>
                <c:pt idx="11">
                  <c:v>112</c:v>
                </c:pt>
                <c:pt idx="12">
                  <c:v>92</c:v>
                </c:pt>
                <c:pt idx="13">
                  <c:v>105</c:v>
                </c:pt>
                <c:pt idx="14">
                  <c:v>114</c:v>
                </c:pt>
                <c:pt idx="15">
                  <c:v>91</c:v>
                </c:pt>
                <c:pt idx="16">
                  <c:v>88</c:v>
                </c:pt>
                <c:pt idx="17">
                  <c:v>92</c:v>
                </c:pt>
                <c:pt idx="18">
                  <c:v>93</c:v>
                </c:pt>
                <c:pt idx="19">
                  <c:v>109</c:v>
                </c:pt>
                <c:pt idx="20">
                  <c:v>103</c:v>
                </c:pt>
                <c:pt idx="21">
                  <c:v>90</c:v>
                </c:pt>
                <c:pt idx="22">
                  <c:v>101</c:v>
                </c:pt>
                <c:pt idx="23">
                  <c:v>114</c:v>
                </c:pt>
                <c:pt idx="24">
                  <c:v>91</c:v>
                </c:pt>
                <c:pt idx="25">
                  <c:v>98</c:v>
                </c:pt>
                <c:pt idx="26">
                  <c:v>1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1</c:v>
                </c:pt>
                <c:pt idx="1">
                  <c:v>1.0710000000000002</c:v>
                </c:pt>
                <c:pt idx="2">
                  <c:v>0.44399999999999995</c:v>
                </c:pt>
                <c:pt idx="3">
                  <c:v>1</c:v>
                </c:pt>
                <c:pt idx="4">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3C9-4E8C-A103-38B15A65DD74}"/>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3C9-4E8C-A103-38B15A65DD74}"/>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3C9-4E8C-A103-38B15A65DD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D9-4B87-8914-1ED23C3C3390}"/>
                </c:ext>
              </c:extLst>
            </c:dLbl>
            <c:dLbl>
              <c:idx val="23"/>
              <c:tx>
                <c:rich>
                  <a:bodyPr/>
                  <a:lstStyle/>
                  <a:p>
                    <a:r>
                      <a:rPr sz="800"/>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D9-4B87-8914-1ED23C3C3390}"/>
                </c:ext>
              </c:extLst>
            </c:dLbl>
            <c:dLbl>
              <c:idx val="26"/>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D9-4B87-8914-1ED23C3C3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78</c:v>
                </c:pt>
                <c:pt idx="1">
                  <c:v>80</c:v>
                </c:pt>
                <c:pt idx="2">
                  <c:v>92</c:v>
                </c:pt>
                <c:pt idx="3">
                  <c:v>87</c:v>
                </c:pt>
                <c:pt idx="4">
                  <c:v>94</c:v>
                </c:pt>
                <c:pt idx="5">
                  <c:v>95</c:v>
                </c:pt>
                <c:pt idx="6">
                  <c:v>101</c:v>
                </c:pt>
                <c:pt idx="7">
                  <c:v>109</c:v>
                </c:pt>
                <c:pt idx="8">
                  <c:v>94</c:v>
                </c:pt>
                <c:pt idx="9">
                  <c:v>94</c:v>
                </c:pt>
                <c:pt idx="10">
                  <c:v>102</c:v>
                </c:pt>
                <c:pt idx="11">
                  <c:v>168</c:v>
                </c:pt>
                <c:pt idx="12">
                  <c:v>95</c:v>
                </c:pt>
                <c:pt idx="13">
                  <c:v>91</c:v>
                </c:pt>
                <c:pt idx="14">
                  <c:v>99</c:v>
                </c:pt>
                <c:pt idx="15">
                  <c:v>94</c:v>
                </c:pt>
                <c:pt idx="16">
                  <c:v>102</c:v>
                </c:pt>
                <c:pt idx="17">
                  <c:v>99</c:v>
                </c:pt>
                <c:pt idx="18">
                  <c:v>103</c:v>
                </c:pt>
                <c:pt idx="19">
                  <c:v>103</c:v>
                </c:pt>
                <c:pt idx="20">
                  <c:v>93</c:v>
                </c:pt>
                <c:pt idx="21">
                  <c:v>90</c:v>
                </c:pt>
                <c:pt idx="22">
                  <c:v>90</c:v>
                </c:pt>
                <c:pt idx="23">
                  <c:v>136</c:v>
                </c:pt>
                <c:pt idx="24">
                  <c:v>100</c:v>
                </c:pt>
                <c:pt idx="25">
                  <c:v>92</c:v>
                </c:pt>
                <c:pt idx="26">
                  <c:v>107</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B3F-4DBB-AAA7-DA2A587D7915}"/>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B3F-4DBB-AAA7-DA2A587D7915}"/>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B3F-4DBB-AAA7-DA2A587D79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7</c:v>
                </c:pt>
                <c:pt idx="1">
                  <c:v>92</c:v>
                </c:pt>
                <c:pt idx="2">
                  <c:v>104</c:v>
                </c:pt>
                <c:pt idx="3">
                  <c:v>98</c:v>
                </c:pt>
                <c:pt idx="4">
                  <c:v>101</c:v>
                </c:pt>
                <c:pt idx="5">
                  <c:v>99</c:v>
                </c:pt>
                <c:pt idx="6">
                  <c:v>104</c:v>
                </c:pt>
                <c:pt idx="7">
                  <c:v>105</c:v>
                </c:pt>
                <c:pt idx="8">
                  <c:v>95</c:v>
                </c:pt>
                <c:pt idx="9">
                  <c:v>97</c:v>
                </c:pt>
                <c:pt idx="10">
                  <c:v>94</c:v>
                </c:pt>
                <c:pt idx="11">
                  <c:v>107</c:v>
                </c:pt>
                <c:pt idx="12">
                  <c:v>98</c:v>
                </c:pt>
                <c:pt idx="13">
                  <c:v>95</c:v>
                </c:pt>
                <c:pt idx="14">
                  <c:v>101</c:v>
                </c:pt>
                <c:pt idx="15">
                  <c:v>95</c:v>
                </c:pt>
                <c:pt idx="16">
                  <c:v>100</c:v>
                </c:pt>
                <c:pt idx="17">
                  <c:v>99</c:v>
                </c:pt>
                <c:pt idx="18">
                  <c:v>103</c:v>
                </c:pt>
                <c:pt idx="19">
                  <c:v>105</c:v>
                </c:pt>
                <c:pt idx="20">
                  <c:v>96</c:v>
                </c:pt>
                <c:pt idx="21">
                  <c:v>99</c:v>
                </c:pt>
                <c:pt idx="22">
                  <c:v>96</c:v>
                </c:pt>
                <c:pt idx="23">
                  <c:v>107</c:v>
                </c:pt>
                <c:pt idx="24">
                  <c:v>101</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4C2-44C7-92DD-9EB9C47379FF}"/>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4C2-44C7-92DD-9EB9C47379FF}"/>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4C2-44C7-92DD-9EB9C47379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ECB35B4C-17BC-44C0-B253-F60CC7A7CC5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1770506499326</c:v>
                </c:pt>
                <c:pt idx="1">
                  <c:v>0.12184098272105359</c:v>
                </c:pt>
                <c:pt idx="2">
                  <c:v>0.19018759554799902</c:v>
                </c:pt>
                <c:pt idx="3">
                  <c:v>0.1403238431935146</c:v>
                </c:pt>
                <c:pt idx="6">
                  <c:v>0.13979818966998886</c:v>
                </c:pt>
                <c:pt idx="8">
                  <c:v>0.11070850995352473</c:v>
                </c:pt>
                <c:pt idx="9">
                  <c:v>0.27959904273754699</c:v>
                </c:pt>
                <c:pt idx="10">
                  <c:v>0.30658023166517162</c:v>
                </c:pt>
                <c:pt idx="11">
                  <c:v>0.22900985604286539</c:v>
                </c:pt>
                <c:pt idx="12">
                  <c:v>0.35222284581950392</c:v>
                </c:pt>
                <c:pt idx="13">
                  <c:v>0.37066507242125163</c:v>
                </c:pt>
                <c:pt idx="17">
                  <c:v>0.41596848634506278</c:v>
                </c:pt>
                <c:pt idx="18">
                  <c:v>0.54917780205619515</c:v>
                </c:pt>
                <c:pt idx="19">
                  <c:v>0.64936726085181662</c:v>
                </c:pt>
                <c:pt idx="20">
                  <c:v>0.39265997978384265</c:v>
                </c:pt>
                <c:pt idx="28">
                  <c:v>0.16810621011354024</c:v>
                </c:pt>
                <c:pt idx="29">
                  <c:v>0.37472799959516218</c:v>
                </c:pt>
                <c:pt idx="30">
                  <c:v>0.18008336310587114</c:v>
                </c:pt>
                <c:pt idx="31">
                  <c:v>0.35760854777776613</c:v>
                </c:pt>
                <c:pt idx="32">
                  <c:v>0.29457202831441714</c:v>
                </c:pt>
                <c:pt idx="33">
                  <c:v>0.18821315197200955</c:v>
                </c:pt>
                <c:pt idx="35">
                  <c:v>7.6286530039083214E-2</c:v>
                </c:pt>
                <c:pt idx="36">
                  <c:v>0.73126908968204718</c:v>
                </c:pt>
                <c:pt idx="37">
                  <c:v>0.75944983818770229</c:v>
                </c:pt>
                <c:pt idx="38">
                  <c:v>0.5469623977496848</c:v>
                </c:pt>
                <c:pt idx="39">
                  <c:v>8.5957627198036402E-2</c:v>
                </c:pt>
                <c:pt idx="40">
                  <c:v>0.40222629336094629</c:v>
                </c:pt>
                <c:pt idx="41">
                  <c:v>0.45464912538298141</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FD56F5CA-ECC3-4DC3-9586-55501C0851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EC8FA3B9-8ABF-4E5C-A5EB-075F7DBF63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687C8D5-904B-4682-B337-67B2A8A561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87A5E87F-DF60-4DAB-B7C1-CF8B23F43F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7323BED-8987-4640-A674-4C4CB79FE9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E1F339F0-E42D-48BA-86E3-A354D253FD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6F9CA853-7B4A-446F-809A-4507C995A6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B31C3777-A67F-4EC8-A072-948C609CDF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4D145600-E0AF-443A-9F93-4AA06775B5B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92CE48C-935F-4B01-B792-8F2F1BDEE9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831B70EF-EAD8-47F2-8E69-A760518D77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E0816595-1A54-4C64-A60B-7EC1085FA1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7D2C22C0-13B7-48E0-94DF-35B179AA5F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4E9B59BB-4FFC-4332-A6EA-99E93BA6CF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4F0F1A29-0132-4893-8578-5E9C3BEBE5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09A8AC46-1DDC-4E1C-887D-D46C8BBEBA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6BE62519-C419-4620-A214-E30EA71621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BC8FB76-DA69-4091-8684-11D032E735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B51A7E93-9507-4B43-A652-E17AA6DB57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1B49769B-E8FB-40DE-9362-A944B29111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D574F795-21A7-4A8B-8F00-786C777F1A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CCD3EDAF-4913-49F0-99EB-73E047BDAE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951E6CD3-AF65-486E-87DD-0E21C67EF6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440EA42-49D2-4A6C-8E7B-9E1D03A207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DBC3422-AEA2-440C-9759-8E31567F3C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BDE9C16-8114-467A-90EF-23BE631D1D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F5CCE282-C3CC-40C6-B91D-A81E2E715D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371A7163-FAEB-4E89-9533-B03AF2465BF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DAE85E4-CE5F-48A8-9D5B-8389B0B99B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041B02A4-4E90-4187-B035-546B503DAF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88202056-A9B0-4662-870E-5D827D1FF4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43B3ECC3-B897-4156-905A-CDE40C2F11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6CD3-4FC3-9C97-F76FE90FBB8D}"/>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CD3-4FC3-9C97-F76FE90FBB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FE2D415-842E-41EB-ACC8-D893BFE1CC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ACAA276-A5A7-480D-9C33-0937134607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5D07958E-7DD0-4D6D-9AAD-8D0EA8394E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8CC6516F-4877-4223-9DA4-CE53E9C70A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2ADCBF6-022E-4B9B-888D-C693A29FEF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EBED1856-05CF-42D8-9E43-9B4FA5F440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F1BC827E-9906-4F83-9A66-035727DD040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3D90237D-3497-4253-95DE-E4CC6A8266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9550E82C-0482-4746-9DA6-095811BACC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DBA019A5-721C-4E52-AF51-925124C788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B8B4D7F9-DDC0-410C-877E-14903EFBB6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8E52299A-5D60-4E83-B926-A933070083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E06A190D-5A5A-4495-9E6F-977BF4E7B4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337681C4-CF59-4D9B-933F-BBEA3B9781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8D5C574-DE57-4324-8C04-FC4B264F05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054F7EB6-C648-4306-9584-920C1C3C74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36678D67-8982-45BB-9AEF-F9DDEA7F1A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671A2E2C-CF3D-4FC5-9DE7-5A3FEEF571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1C5E3AE-8E69-46FA-A12D-D7D565723C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7856718-A126-4FF3-9543-2148FC5B96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5FB17B05-CE16-49B9-AC30-F9E3150D21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82B54315-24D9-4921-B513-D92E750FC8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468ABD4-2AD8-4E45-9E02-CE4164DB05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A0025F0F-A0F2-4667-B590-9ACE4A64A4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F1C478FB-8217-4A3D-A0FE-18AC050A72E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C9FFA79D-2FB7-4B85-8031-7743770000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5A7B657E-9150-406E-85C9-E9AB73FB3F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E5EB42FA-EBAC-475D-B697-F2CB88B7AD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1B9F198-0ACB-41AF-8026-D796037ECEB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BFE2DFB4-C562-40EB-AE5A-7BCD5F682DB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5C4D36A5-2CF4-41D0-A3E1-1E551D1364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D33DD469-54C5-4145-8111-AE7870210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BDDE-4681-AA42-4281723F4697}"/>
              </c:ext>
            </c:extLst>
          </c:dPt>
          <c:dLbls>
            <c:dLbl>
              <c:idx val="38"/>
              <c:tx>
                <c:rich>
                  <a:bodyPr/>
                  <a:lstStyle/>
                  <a:p>
                    <a:r>
                      <a:rPr sz="800">
                        <a:solidFill>
                          <a:srgbClr val="00A097"/>
                        </a:solidFill>
                      </a:rPr>
                      <a:t>25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DE-4681-AA42-4281723F46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Dollar Shave Club</c:v>
                </c:pt>
                <c:pt idx="3">
                  <c:v>Equate</c:v>
                </c:pt>
                <c:pt idx="4">
                  <c:v>Harry's</c:v>
                </c:pt>
              </c:strCache>
            </c:strRef>
          </c:cat>
          <c:val>
            <c:numRef>
              <c:f>Sheet1!$B$2:$B$6</c:f>
              <c:numCache>
                <c:formatCode>General</c:formatCode>
                <c:ptCount val="5"/>
                <c:pt idx="0">
                  <c:v>-8.4931012668750618</c:v>
                </c:pt>
                <c:pt idx="1">
                  <c:v>-0.54165499869192579</c:v>
                </c:pt>
                <c:pt idx="2">
                  <c:v>-0.64569720819071874</c:v>
                </c:pt>
                <c:pt idx="3">
                  <c:v>-0.83358088080508452</c:v>
                </c:pt>
                <c:pt idx="4">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6F43215-666E-428B-A53E-F26F57478E5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D5B3E4ED-BD70-4B24-AB1C-FE03BFA91A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708000B3-6CA8-4486-A436-A909362162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81225B7-53DD-4C2C-BCC3-D7EB3F528E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B90B08F6-6549-44C7-8A0C-F407761FBC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51747DB4-11A8-4952-9E3F-A0FF095ED7D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EDF06E9-B5B4-4F42-91F5-E3A6FA2AD6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55FDCAF3-7ECC-497E-B6C8-11DFEA346F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FE15698C-B07D-452E-98FC-F8C43B9B048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D9665294-4EC5-4098-9AD4-043ECF9DB2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36AF13DB-CE42-44B9-8E7D-AAEAB07D4A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E957B06A-7D52-4769-AC86-49699FE69A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A540A3D4-EDF2-43B5-978F-2002A03823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D577C90B-49E4-4F2E-999D-DE297F64AD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CCA6216-4083-4134-9F8E-9610928707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950B2F86-DB15-4B1C-9133-5A3C4899FC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0F391955-CDA2-44BD-916B-5C32DF4089D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29B718F-CB60-4570-9122-3BA7C14E8B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922D545-965A-4A9D-9DA8-F398EFB9FF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5176C205-0266-43D4-808B-2E97A574CA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93647F63-69BB-4293-B2AC-D515FC4260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FCBAB7B-9C20-40A3-9A84-4304D24E9D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B337FD2E-E4C9-4E23-8F96-0D7F90C0E7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51A82774-84BD-4065-A362-4082D8D55A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2C2F6292-6D40-45C0-82B9-A8E312C098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83B6684D-21F6-46AF-A766-47A0D0B88F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DA3C95C2-5A99-44D6-979C-6B2E0428D86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3552CA29-35D1-4399-833A-89BB869148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51B5EF14-4C6E-470C-88A0-A8EB55207B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BAD9E5C0-93E7-4C55-9DCF-ADCAFA16C6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453614E6-F7FD-4178-B88D-8F6E2A6E4D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14728AF-E218-4E59-838D-E9FEA841BF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5">
                  <c:v>1</c:v>
                </c:pt>
                <c:pt idx="6">
                  <c:v>1</c:v>
                </c:pt>
                <c:pt idx="7">
                  <c:v>1</c:v>
                </c:pt>
                <c:pt idx="10">
                  <c:v>1</c:v>
                </c:pt>
                <c:pt idx="11">
                  <c:v>1</c:v>
                </c:pt>
                <c:pt idx="12">
                  <c:v>1</c:v>
                </c:pt>
                <c:pt idx="13">
                  <c:v>1</c:v>
                </c:pt>
                <c:pt idx="14">
                  <c:v>1</c:v>
                </c:pt>
                <c:pt idx="15">
                  <c:v>1</c:v>
                </c:pt>
                <c:pt idx="16">
                  <c:v>1</c:v>
                </c:pt>
                <c:pt idx="17">
                  <c:v>1</c:v>
                </c:pt>
                <c:pt idx="18">
                  <c:v>1</c:v>
                </c:pt>
                <c:pt idx="25">
                  <c:v>1</c:v>
                </c:pt>
                <c:pt idx="26">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76942D40-BE7B-46E6-8177-88A6ED0B5C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4689F549-6135-4DC9-BE74-973118243B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1A96D08-F844-4EA6-9656-2F967B39C3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4A42EA83-9217-4FB4-A2AE-23784AD7B2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93E865CD-E89B-406E-B6EC-9E457B0647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A6F88561-55EF-4DDA-B929-88951EC2EF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623235D1-724B-40F8-82B2-66EF32A01D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36A58C20-611C-4899-AD5C-C409EA542F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7383DB32-CE43-42D1-914C-113EF0C12E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BE6CD1B7-0FBB-44DE-986B-B8D245D217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6265BB66-3CFE-4409-89E1-6BF11B80C1F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12AFF0ED-EE3C-44FE-9502-FFD886C56C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BB7619A7-EFD7-4406-87E4-AF8FF7F40D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11097DBA-0C85-4230-9186-3E3EE92F85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69D76851-CD7B-4059-8AD2-6B85EB5CD7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C8F20DF3-6B5E-4B9E-8A2F-2DB4789F9D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3E5AF811-AC85-4BCE-BA37-8B380608BB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EB8C3A37-D6DD-4F02-9930-CEBE2A55C5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BCDB3AF9-05C2-48AB-9E56-A38F0E6ED0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B8D6DB46-175E-4436-BB1F-4D7AC4E7A1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89921047-21BE-4736-A3EA-8161D0B454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FB852F65-1CCE-4486-BABC-9E9E125550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25AE8778-E2F1-4FD1-872E-B86FFC604B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3EEA4D1-228A-42B5-B71F-B46D2E075E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B725A648-123E-4067-9CF3-A38CAD47A6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1F2EEB2C-E9EF-4D03-832D-DB5ECC0B89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C83329D0-3FE2-4893-B56D-D0B1A18AFB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3B68A167-1FDD-4AAD-BD2C-5A24D0CEC1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B2E6CCE-96E7-4A01-B97D-1F19B8E0AD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9BFC1C4B-8D75-4147-85C4-8FD9B7405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C007DEC6-7A99-4C93-8B25-2584A981FA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0819CAC-C22F-4BF6-80C5-E7BD0B8704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5A38-494A-8F76-58EADF1F4ECD}"/>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A38-494A-8F76-58EADF1F4E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5BB93D9-7092-4B49-980F-435A4ABF5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92B0DBE4-2958-45AC-8A94-68611CCCEF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DC7C1BEA-D85E-4FF1-B639-30F58456703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0C9A67B-EE0F-4034-9FA4-E6D6EB2048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379401EA-F5B8-43BB-932B-DB535E19B6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974AF025-C06A-4694-9947-D16B3A988B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FA8B982D-EF98-4CA4-9E3C-4F2A2F8204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9A7449A9-8F2F-44F7-881F-3C3BD33684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E4FA6725-36D4-4807-B7DA-4E2DA95A1F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C8DFA1D7-14B2-473C-AB28-E1CFBB661D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2627C150-55BC-46A2-857F-A107137796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5793F2E6-0043-4FDE-8D6B-F173E0192A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F2E84BAF-5FD1-4167-8DE7-F341C27530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D9723DB6-DFE3-46EB-B8ED-2FCB191418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022926EB-AABD-40FF-AB36-87031315EF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90D10119-1379-4A49-A724-AAC6F3E8E7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6695FBD3-0798-4E38-A39A-30FA0711EA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4904EEFD-1926-401D-8FEC-0955F85544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8B19472-317C-4E42-A3CF-0283350345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3D206E59-2196-4318-B8A1-F10C19E082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D8A31591-D092-4E29-9505-6CDEFE1D56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5DCE7572-AFCD-4678-ADC1-63AA5A1564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83881A52-B603-4E39-B3D5-5C984EE5C6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041E59D4-88B1-4641-A07A-387936838C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1ED51BC8-2803-497D-88CB-CFDE36285A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B057BD8E-1790-447D-8426-BC948B5263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BC7A8318-7E38-440C-A019-B6CA8150CC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049AD9DE-FA80-4F27-88B4-B9BD789695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F379F0F5-547E-425E-8F0A-E8B7785D006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D19F2967-64C4-414C-BE8B-08ACCA2FA3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D8CA4F5A-58DF-4C36-A56E-A3C60B8DF3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2148A1FF-7767-4A0C-83FA-D1216D74EC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67654503356877E-2</c:v>
                </c:pt>
                <c:pt idx="38">
                  <c:v>1.83141902803906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87B39EA-8AD3-4351-9DB3-213727EB85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2261F784-3D54-4CA1-951F-0EF3A8278FF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E3649814-56C3-456A-8C74-1F81DE3F70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CA7A0DC9-A8AA-4E3B-B3AF-7F25AAE6E8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7AC4AC92-811C-4999-A7C7-4BF0494CF0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751FAC80-6174-40BC-A228-E15756BFD2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ACA895FF-F0EF-4DE2-B5AC-4A58EBF3C9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B546EFC8-A5F5-499A-B6CD-F4962D6FBAA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CD442159-9EBD-48D9-968E-7CF3B998F2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651CCF57-B85C-4A89-ADB8-8E4D0CACF4F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2260A000-3AA0-440A-A6A3-72E1A554FA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1A20A064-36B4-4060-A3C2-6F309209A8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08BE500C-8858-4969-B99E-EEF21D3A6B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0EDAD85A-8A6B-4D36-AB8F-D9061EAAC8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85940CF6-B318-4FAD-BE57-7368748B58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01E59322-6D2B-4D9A-B2DF-DFDE4F7405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A977E6FB-F52E-49D4-89CB-52C5B256183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4EFB4B51-AB25-4E56-A81E-4AFC1F836F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FCFFAD2E-E4DB-4BDE-A6ED-820E1CD9F2C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7CC18F31-3B57-4589-B413-A601A33157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3257B383-0C33-46A6-B20D-13112B0D2F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6CD10B29-EDCE-44EF-80E2-B27EA52BC3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9980F8B1-2887-4664-9A12-2265513498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403B7970-D628-465A-896C-593433790B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C40203E6-80CD-4822-9CA3-1E07FC3F31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94C70944-147B-41D5-AEFD-C85AA6F7B0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4FCF5BC8-C13F-4520-B6E9-1D786C3A3D7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D5BF8E94-1306-473F-B43A-4B1E5B5285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B242ACB2-0B7D-43FA-A78C-27AF85BE29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F127AD7F-318A-42E9-BAA9-71EBAFBEF8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FD1C0A9A-49AD-4116-83A6-40DFD4A989C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8330C40-2B25-47E3-84D7-43D8F1BFF01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1AD28897-C49C-40F5-9F64-CD235D7AC7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EBB5D7D-B757-4A78-9ECA-E79A47CEF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B4AE94C1-979F-48DA-B8EC-17870BFF54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E805EF39-344E-4DCC-B6B2-C2F2D84D22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2B61D534-F9AB-4D16-9865-2ADBA72594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0C6A4E2-4EE4-4BAE-8C09-1A9232FF41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6DD53CEA-8BED-4CBF-B245-0E78428173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DDBBDD0-A247-47F5-918B-33063A2F797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8BCEC2BC-012B-4298-A95C-831AC263BD8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49A57FF0-EF4C-499A-82E8-1FE8B25E64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BBBCE9E4-4BAE-47E3-910B-952CD30375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5A9F439D-1178-48F9-B88A-1C1B98A04C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82B214C5-3E7C-4E03-9E67-05FB33E6A7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4786A657-0C15-4A7A-916D-F04E1E2D38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41D7C8A9-DF0C-49EC-829F-BCE90EC1AD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03E080D5-1101-47E2-9B99-75F9289C17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469B7B71-75FB-4D1C-942F-53B06874C7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B22AC6DB-6FDE-4480-B2F7-C8C4A1BA7D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A6C18597-F35B-4C11-9D8E-680326F4F1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40D711A6-A986-4B1E-B0D3-6D778244BAA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B69F469E-5825-429F-802B-724A4A68C7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6872D45D-E3D4-44B4-8004-27C4AD6690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8F601DBA-CA00-4E93-B4D9-CF80E2E5ED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F9A5DAEE-E623-46D9-8175-35A354D1BA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3D45097-0093-4E1B-88EB-0A0B9056B1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CD68F047-7985-4C2F-A366-F64E63C943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979F3381-7825-457B-B95C-3561591C62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7F5A53D7-0CBF-4D16-A71D-83B2FCA77F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5BF79F8-38D8-4107-88F7-6D6EA98BC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947B3C55-5DB6-4F31-9A9D-8D82FAC1D9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1F422ADC-4E95-4BF8-9D6E-7260BD47F1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730697A2-8CC1-4A7D-A8A6-1A961924DD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34A9EA9B-1AA3-4A47-AEC6-AA3A537E76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5B6A-4148-8B90-7DF1B07B2186}"/>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B6A-4148-8B90-7DF1B07B21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7ECAC4"/>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A46BCF49-4D34-4DE7-95C4-03DE9D1D7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9956CDF-7EF7-4C5B-BE83-CCD1C45E8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1AA6F16-C9C8-4C12-96B5-065F9CC30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49A0CDD-C48A-4D2F-B86A-159DCB98D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28057274-FAC6-4955-AECA-9D5CAFE81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1DB61B2-5573-4D87-A2EC-82F2C0CEC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B331C2C9-67F3-4066-BB1E-64839D99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251F578-B915-4177-82E4-E59B3D612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A0297FDA-1AF2-46DA-8B7B-851C6B799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C2159CB5-CE15-47B0-A0AD-D9D4C447E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4BE72842-C189-48A9-BBB2-C0011DD04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79DAA292-1919-4CCC-BFF3-785E42AF4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CB726A6-3C23-4111-B009-52100A25A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32311375-C216-43B3-BFBE-05341F4AE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8C87EA19-82FD-4A55-A4E0-62BE885BA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AD610478-1006-4E30-BD65-EDC543880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899551D1-5885-4328-9873-093A44080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98A9B097-560A-4D00-86F4-BD4225D0A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4F0968AF-1FBB-4685-885C-3FA42015B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2F2BCD6D-1402-4F3B-AC3D-6B5C52227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9B645C4D-B1B5-4DC6-8CB2-1A9D1E797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E610527-C6BE-40DD-A158-3AE0456E1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639FD0A-146A-4A76-A544-838EF5150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07D1A600-4337-409A-8FE3-FAC09443F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AD520EF3-0869-4154-94BB-0D4A4C29F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B04E855D-7601-41E9-8F4E-B1D5CA8BD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A4CE4ABA-287F-451C-B3E8-D690EB64E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C478C91-1C30-4BA3-AB56-C7B701FDC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E6D88E7F-39F4-4CF7-B81F-AF224C716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48B6C946-C34A-448F-806E-B99614B83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8D32060-AF1D-4850-BBB2-47839F01E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722A9A8A-D7D5-40F1-B053-4B1C933CC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F758BC76-AB07-46F5-BA56-B4DA12F9B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32286561-A118-4656-ACBE-4445DF65F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B7FF5C8D-C747-44CD-AA48-88301433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76E92233-2275-44D5-A06C-7192AB4D8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04201A27-08BB-4C83-8EF9-EB022F88C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7F58817C-6D2A-4A8B-8F17-3A51C2885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3876C6E8-6329-4C7A-A61C-0D0A4C927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8581CE0-AD0E-44B7-93BF-01971681F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5FA98BE4-52D5-4BC6-98A4-32227F163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5E4AFC17-7E0D-4E13-9654-D391F6585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4FBE3CC6-7B07-4396-AEB1-795ED9F81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03D7439-82EA-4342-9506-358E82CB3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80DF51D-5A29-4D68-B143-43DAC354F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93DD88CC-8A07-48E1-A70F-35913842B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101459C0-663A-4EB9-AB8B-15FCB1E6D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CC6C2165-B8E4-4524-8FE9-7855DC1CA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B9355087-C8F8-4E26-87B9-53732C9F7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7303B300-AA8A-4274-9075-A58182F9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EDF0C00-F217-4A18-A895-9CD3F1F78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8FA0232D-C7BC-4D4D-A1FC-84F5641D9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23051C5D-ACBE-4949-96BD-CAF5D0CB7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3B44AA42-049B-41B0-9986-3D716DDE2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60ACFC83-3095-4E00-8E6C-325B9B463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1F62A27C-CBDD-4D70-9F2F-CD0B217A2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1F4D85C7-566B-457E-9448-F2A9A96BC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5A636667-32D2-4A82-A65E-390F9881C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354EED7-76DE-4C62-BBCE-769F94619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60344C1B-9133-48A3-B51E-9F91E8EF9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0FAE21A8-6971-4DD6-88E6-8828A5AC0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3B3E8D5-F490-4983-853D-6E913B195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1E9DACEB-9897-41C3-94B4-02E66D74C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9ABEDE57-28E9-429D-8404-3A70D2234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3AF96F53-FC6B-4AAA-A0DF-08B565E34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D330A062-B691-4104-93A2-38CDE6D9B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4F98B325-3E21-4B14-93FF-742388624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A8283A75-9430-40B4-8311-D6844D026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BE1301DC-FA57-4E74-A6F2-DAF886D59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127E5E2-E09E-4AE4-BF78-61CE56D77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3F850BB8-28C3-4D38-9A8E-160023E88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0B8FB951-1E45-4FB8-B3FC-E63EC2B40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17907204-5735-438E-840A-4F9AECFE3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427D830-C870-47FE-A450-0163D52AB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BD6D3358-51FC-4D5A-930B-1FBB65F27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BF0490E4-1A26-4137-9F6A-5CA5383D4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34D81DB8-6403-46E4-8E05-75E3720DB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5524AAEA-C79E-4C6A-9C5D-80431C5C2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4B8DC0C-FC58-4C15-A1D0-52C5E8A5C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9E44BE4C-97AC-492B-BB49-C1C24CA46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5F13D545-076D-4A4C-8940-C5BAAA832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AFDD88C8-9E1A-4FBC-8FD3-66B308384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2A2A194B-68B6-4C22-9D13-F6BE2C1C0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12E9B533-63E6-462E-81F7-F97D25B29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039DB16B-B95F-4C20-84A8-2CD66F14D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1FB5704-6599-4106-866B-29FC37AED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C6D35C3-E646-491A-8256-57D8207CE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408C3DFB-4CED-42D1-99D8-AB346F2F3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30531984-9169-471E-947A-D3D740FAB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1C7503B-877B-4594-9321-C5F0320AD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D3FEC6B3-AE38-44F3-AD5B-E10034055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4B3BC4F6-8470-4F8F-AFB0-444F130B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326D08EF-27B9-4C80-B53B-206F130A4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F945B139-1E38-41A6-9CAB-5DEC73210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8294E575-5F8D-46DF-8510-82696B8BA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B87CEAFA-7841-48A0-B766-6A6144709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15903204-E147-498D-9905-98166C8AD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9A40562C-6439-400B-812B-607A78DB5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42117974-21E9-429E-9949-919AD57BC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C338FDB-7992-441F-9465-F014B8443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FF954C11-50C9-4040-A514-50495768B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C518CC6F-F468-4550-BC85-79F9674A7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3417EF3A-7B19-48B5-9F60-5751F4E76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2379A13-5889-4CC9-92E6-956AC875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F31C2F24-5046-4B3D-9BFC-9B08880DA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BC08EFB8-E39E-4955-B5A9-1FF1C1D15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5091D068-41E6-4255-8CBB-0F4D3C0E8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4DDF2622-DDC7-4B39-9DDD-5310D1821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3D9609B9-0D33-428C-896F-5924F23FE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B37FBF89-9438-4845-9FAE-764A67933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4B27885E-2D53-461A-B974-6423FF03C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9FCB2140-E574-4457-8D24-A07529F04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D1E4A77F-20BB-4E72-8CB1-600B59BD4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D5C0EADA-8C51-48F2-BB54-8B02C89E9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968C2448-BBD5-426D-BFCA-D7B513998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FFBD1A47-0BFF-4DB8-856E-0635749A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53171493485300692</c:v>
                </c:pt>
                <c:pt idx="2">
                  <c:v>0.23134599885546031</c:v>
                </c:pt>
                <c:pt idx="3">
                  <c:v>0.16872448312720459</c:v>
                </c:pt>
                <c:pt idx="4">
                  <c:v>0</c:v>
                </c:pt>
                <c:pt idx="5">
                  <c:v>0.17147629346397339</c:v>
                </c:pt>
                <c:pt idx="6">
                  <c:v>-1.7224132063395691E-2</c:v>
                </c:pt>
                <c:pt idx="7">
                  <c:v>0</c:v>
                </c:pt>
                <c:pt idx="8">
                  <c:v>9.1688710957997632E-2</c:v>
                </c:pt>
                <c:pt idx="9">
                  <c:v>-6.0466840881934934E-3</c:v>
                </c:pt>
                <c:pt idx="10">
                  <c:v>0.13293961100065049</c:v>
                </c:pt>
              </c:numCache>
            </c:numRef>
          </c:yVal>
          <c:bubbleSize>
            <c:numRef>
              <c:f>Sheet1!$C$2:$C$12</c:f>
              <c:numCache>
                <c:formatCode>General</c:formatCode>
                <c:ptCount val="11"/>
                <c:pt idx="0">
                  <c:v>56285498</c:v>
                </c:pt>
                <c:pt idx="1">
                  <c:v>892564</c:v>
                </c:pt>
                <c:pt idx="2">
                  <c:v>6252872</c:v>
                </c:pt>
                <c:pt idx="3">
                  <c:v>10656803</c:v>
                </c:pt>
                <c:pt idx="4">
                  <c:v>423669</c:v>
                </c:pt>
                <c:pt idx="5">
                  <c:v>4603858</c:v>
                </c:pt>
                <c:pt idx="6">
                  <c:v>1929113</c:v>
                </c:pt>
                <c:pt idx="7">
                  <c:v>9544</c:v>
                </c:pt>
                <c:pt idx="8">
                  <c:v>773970</c:v>
                </c:pt>
                <c:pt idx="9">
                  <c:v>1471589</c:v>
                </c:pt>
                <c:pt idx="10">
                  <c:v>627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Schick</c:v>
                  </c:pt>
                  <c:pt idx="3">
                    <c:v>Gillette</c:v>
                  </c:pt>
                  <c:pt idx="4">
                    <c:v>Harry's</c:v>
                  </c:pt>
                  <c:pt idx="5">
                    <c:v>Bic</c:v>
                  </c:pt>
                  <c:pt idx="6">
                    <c:v>Dollar Shave Club</c:v>
                  </c:pt>
                  <c:pt idx="7">
                    <c:v>Van Der Hagen</c:v>
                  </c:pt>
                  <c:pt idx="8">
                    <c:v>Comfort 3</c:v>
                  </c:pt>
                  <c:pt idx="9">
                    <c:v>Equate</c:v>
                  </c:pt>
                  <c:pt idx="10">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2158ECA2-60F2-4E06-BBEA-3F7A9DFB61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4C88B67A-9013-450F-87DB-B24B534411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4D55857F-4633-48DF-B6C8-35AF0E196DD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78FD3CCA-B017-4B6A-AEB9-787D04CC00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CAD64726-F81C-4332-B905-94EFF33505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90EA803B-91C4-4AFC-897E-67C0FEA699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DEE2BB76-7719-48FD-839D-DD4822E6C7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112797C-4554-4AFC-93ED-445CF1ACA4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1A83746C-C5C7-4F76-9492-B1E82D817B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D0E8C662-735B-4C51-8D36-1F17C08B355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E63CEA09-707E-437C-A7E5-25C10DA8AFB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72A0E375-D5A2-47B2-84C3-C814E2A484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CBE91A5-CC66-4872-B016-B93CCE29EF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4D4138DE-9527-4F6D-82A2-EAFE496C19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560A211-286A-40F7-B243-885992DC05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D6AAF927-7E51-479C-A3AC-BC2682A032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498A6888-14E7-40DC-A9B5-1C6716E156C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0C43970-AEDA-424F-A1DC-6CC0288EE9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808DD861-AF91-469C-AFD1-E5166823E7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108388D9-1B18-469E-BEDC-9502606850E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A38E4FD2-AC0E-4ECF-B23C-5293B82CED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4C3B94E4-10A6-4ADB-A7EB-CC5A87ACF4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438E31ED-F92D-4D73-A9D4-7A5B0C923E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FFC07E1B-BE60-4BCC-AF2B-387FE225B2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664E7628-E145-4979-972F-619E41BBFA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94FE73A6-85F6-488D-B56B-76595DE4C44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C52BCB9C-860B-4A7E-BC70-E36E2DEC6B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F6071DBA-9763-4FE1-9AFA-498E5EF0DE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4706D63-1C49-48EE-83C7-11B00EFB96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EFE67B73-C5B4-4E5F-864C-47EA214CAA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D95FE8C6-75F1-46FD-8FA0-EBE74250285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12470E3F-9EF8-4C37-936C-22183A3E3E7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5.239374289059192E-2</c:v>
                </c:pt>
                <c:pt idx="38">
                  <c:v>1.83141902803906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44B2FE1F-68CC-46CA-B6FF-D54E4153D8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8CD0F717-CCC1-47BC-A5EF-6FC84F20E91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C01A10B3-67FF-4C67-8915-E294450190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5B5FC7A4-029D-4E79-A274-A2FFDB0E5B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5672A37C-9F8E-479F-BDCE-F5FEF83863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DC0E1BC4-89DB-4191-98FC-69EAF40553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0433DDD0-4C51-41B7-AFDC-95D9B2DD5E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8BD33DD0-B310-4B9D-9CA3-D9EAB6F9F9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0C764699-6B57-48C5-9CCA-9810001959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D86BFC4-1AFA-481F-9E5C-6FC9FE35C1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D53A8AE2-F92D-459B-91AF-3FC9A01788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4C2AE30-58F9-4B3D-A7C1-5870992949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A9528265-6B09-4738-BA26-9CC3DBFF24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4D71714A-0870-40EC-AD40-86D7F40B11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8FEFADF-73DA-4616-9937-A1D9686B273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A5B68AC2-1B94-41FD-8D08-647EA5BE51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49AC8A35-0075-41E7-86B9-A46B02C3475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E647C298-541F-4153-B255-9F065899F6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451C4A60-A0A6-407B-8B87-DC877F8353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EA331A8-BD56-4E97-A42C-B49D874E68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5DFA12CF-4FB7-4CEE-B3EE-6916088794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6B8AA14A-2340-4260-B937-DE0F66A1AC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58339EB7-ACED-468D-B9B8-702BB18F09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A57F9B21-7AA8-49B0-913B-FB30E48603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97E51E5-BEB5-4AF4-9BCC-47547AC1A2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51393B44-C609-444C-B1A7-DB334601B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49B2605A-591F-46AC-AA73-A62E8DA819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18F04205-1DA1-4A75-A09B-EFF00AE78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F5DD5992-9D37-4116-8CDC-291D9210948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A7577BD5-D72B-41ED-B165-CB436A3A36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9261C209-8B71-48CD-A3EF-C2A3F7E8B9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AF5F2D67-6159-42FE-B698-5CFBDBCC82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0">
                  <c:v>1</c:v>
                </c:pt>
                <c:pt idx="11">
                  <c:v>1</c:v>
                </c:pt>
                <c:pt idx="12">
                  <c:v>1</c:v>
                </c:pt>
                <c:pt idx="13">
                  <c:v>1</c:v>
                </c:pt>
                <c:pt idx="14">
                  <c:v>1</c:v>
                </c:pt>
                <c:pt idx="15">
                  <c:v>1</c:v>
                </c:pt>
                <c:pt idx="16">
                  <c:v>1</c:v>
                </c:pt>
                <c:pt idx="17">
                  <c:v>1</c:v>
                </c:pt>
                <c:pt idx="22">
                  <c:v>1</c:v>
                </c:pt>
                <c:pt idx="23">
                  <c:v>1</c:v>
                </c:pt>
                <c:pt idx="24">
                  <c:v>1</c:v>
                </c:pt>
                <c:pt idx="26">
                  <c:v>1</c:v>
                </c:pt>
                <c:pt idx="27">
                  <c:v>1</c:v>
                </c:pt>
                <c:pt idx="29">
                  <c:v>1</c:v>
                </c:pt>
                <c:pt idx="31">
                  <c:v>1</c:v>
                </c:pt>
                <c:pt idx="32">
                  <c:v>1</c:v>
                </c:pt>
                <c:pt idx="37">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9F598CC-CE38-4D53-88FF-B821806983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12EBCB1F-4AB4-46C2-B4DD-083767E993A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141F79C3-C223-4C77-8CF7-575EABE1E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C281743-C9EB-4080-A489-BF6E2E8A99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9146BE9B-AE0E-4942-BF8D-B9E73E9B3A9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DA1EA6A-80BA-4DEB-870D-E0850DBFD8E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01517BA1-E3D8-4186-AFD3-8711FFE456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1FAF4A1-0538-4DA2-9B1A-1C628A2069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6DB25F7C-641E-4E0C-A597-B60634FDD3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0475F316-190D-4369-8AC4-EB41BADACB1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EFB195F1-50BB-41F9-B32C-546E3F8CF0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5CD22848-C7A6-46CE-8CF6-B962CC654A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974CC5F5-9A60-4680-94CC-09B165A5E86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0727AB23-F35E-453A-A7C2-BCB291A1A4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914E366-170C-442A-B490-816BBEBA6F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16B54219-5FCD-4A97-A0EF-A798BB84245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FF48ABD4-71C0-40EC-8EF3-2060DEA5941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DA7FB9AC-4AF1-4A95-A863-E9A9FA7531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A8A4CEE7-4CAF-451D-A329-D2403C8BE85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014E6862-2E92-4430-A7DE-9FC2D171F5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4AEB5CA2-28BA-47AC-8851-4BA9F2CD44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128C1601-17E1-46AC-B465-3B9535779F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2F7001BA-E51C-4D47-95F0-5C5198397C1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EEA4BEE3-C577-434C-A491-D0226D24CD6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A3CAF57-36D2-4FDD-AD11-F1E610293E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52B707BD-EEB1-4077-9EF2-8B16C4014B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C6B06528-C0B7-4700-8679-949D279B7DA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FDA9ABB0-6003-4077-A6CE-0E0897E7DF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F16567A2-733E-4C78-9DA1-9F937C757B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7D218FBE-D241-4213-9A21-2F19676F5EF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CB8A2EB-F241-4149-9044-64E4E44B8A6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6A96F23-B658-4D98-B28A-B2D96405CD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
                  <c:v>1</c:v>
                </c:pt>
                <c:pt idx="6">
                  <c:v>1</c:v>
                </c:pt>
                <c:pt idx="7">
                  <c:v>1</c:v>
                </c:pt>
                <c:pt idx="10">
                  <c:v>1</c:v>
                </c:pt>
                <c:pt idx="11">
                  <c:v>1</c:v>
                </c:pt>
                <c:pt idx="12">
                  <c:v>1</c:v>
                </c:pt>
                <c:pt idx="13">
                  <c:v>1</c:v>
                </c:pt>
                <c:pt idx="14">
                  <c:v>1</c:v>
                </c:pt>
                <c:pt idx="15">
                  <c:v>1</c:v>
                </c:pt>
                <c:pt idx="16">
                  <c:v>1</c:v>
                </c:pt>
                <c:pt idx="17">
                  <c:v>1</c:v>
                </c:pt>
                <c:pt idx="18">
                  <c:v>1</c:v>
                </c:pt>
                <c:pt idx="25">
                  <c:v>1</c:v>
                </c:pt>
                <c:pt idx="27">
                  <c:v>1</c:v>
                </c:pt>
                <c:pt idx="29">
                  <c:v>1</c:v>
                </c:pt>
                <c:pt idx="31">
                  <c:v>1</c:v>
                </c:pt>
                <c:pt idx="3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D5F96873-A06A-4189-8F15-AFB3B1A2B2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46D8CBAE-6270-4B28-85CD-6C67E197B5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444DD443-50AC-45BA-83F9-07A668EE6B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5D1DFC9-F572-417A-8A11-51C5C9B74B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EACC0671-9FA5-4E35-A098-01962DE68A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C90EDBA0-FDA2-4FA4-B0A2-3667DF9A7A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05283CE-BE85-400D-A982-E290EFFC72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F8A383A4-143C-4337-B4F6-B34CD9D655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913FFE94-1A25-47F3-98D8-11F250BE659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89519A9C-EDF7-49C6-B751-B6C06FB7FD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32114D9E-D6DD-43D1-9A12-29A0205A25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BCE571BD-846E-4E53-8037-C36FC18FFA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F0D72B67-7746-449B-BB75-87D875C611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8493EF6E-5B47-41A3-86D7-FA38DD26B8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B32F289E-A470-42FC-B0FF-71C7E0F03B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483419-D293-4E01-9F38-5B1F458F9E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D6A439E3-72BC-4274-AFB6-8DD95188A2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122E5AFF-BFD9-49BB-B477-7BCAFD4DEE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EC703CF0-F34D-4BA1-BC79-4395E0B484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940B363A-F170-4580-AE96-AB982B217F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52C425F0-97E9-481F-BEFD-C817B484603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2E55A06E-3A14-4842-A56D-67DCFF4FC5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D37E79D-4F53-4E81-80F0-98FE1B744A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CAF44948-9498-4A04-B022-183E5222CB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A10470EF-33CF-4545-ACBA-CCCC4185A5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58B08EFC-A3D6-4293-9729-8C50C10C77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409955E5-DA85-4B55-BF1C-81ABA43899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79CDAAC-F0F2-4B73-9E55-78EC489B19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CF3B0FB6-BAB8-4E31-8E5B-DAD4C6633D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3947A309-4027-4BEE-84BC-3EF94E6FF7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3A80079F-DBBB-4198-97CB-83DAC3BCF3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0EBDB2E9-D766-4C82-B8C2-35F7D8825BB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60B2-4CA7-B7DF-165C69A1F1CD}"/>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0B2-4CA7-B7DF-165C69A1F1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7">
                  <c:v>1</c:v>
                </c:pt>
                <c:pt idx="8">
                  <c:v>1</c:v>
                </c:pt>
                <c:pt idx="9">
                  <c:v>1</c:v>
                </c:pt>
                <c:pt idx="10">
                  <c:v>1</c:v>
                </c:pt>
                <c:pt idx="11">
                  <c:v>1</c:v>
                </c:pt>
                <c:pt idx="12">
                  <c:v>1</c:v>
                </c:pt>
                <c:pt idx="14">
                  <c:v>1</c:v>
                </c:pt>
                <c:pt idx="18">
                  <c:v>1</c:v>
                </c:pt>
                <c:pt idx="24">
                  <c:v>1</c:v>
                </c:pt>
                <c:pt idx="30">
                  <c:v>1</c:v>
                </c:pt>
                <c:pt idx="36">
                  <c:v>1</c:v>
                </c:pt>
                <c:pt idx="37">
                  <c:v>1</c:v>
                </c:pt>
                <c:pt idx="38">
                  <c:v>1</c:v>
                </c:pt>
                <c:pt idx="40">
                  <c:v>1</c:v>
                </c:pt>
                <c:pt idx="41">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F64112D-4D05-433C-B398-E041DBB4FC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C90CDEA-7C26-4CBC-8C60-DF3A591F54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735CCE6C-4E48-419A-BDD7-FFECEDBFCC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75A1016F-026A-4AA6-9FD3-1BC632018B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75C0F300-25F5-4C7F-A203-742795BFDD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B8C7BD54-CAA1-4418-A6D5-11099F4B6A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CF1001D5-E5DF-47D5-B000-5AFA684A05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AE609332-A147-4297-AD2A-77058942AE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84BDC437-948B-4349-9751-5B47C6B793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FD54A066-B68E-46BE-8CCD-E8B57C946A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5BA45A16-BDCB-49BD-8627-1A41BED948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37F3E93A-C0E9-471E-91F8-753207EA03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2D0611DB-1398-4007-A9ED-633685B56B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FE38C336-4E37-4B94-9AD7-3AE8D558075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691E3791-69EE-4381-A306-AD14840151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54F85DD1-49C3-49C4-A217-D610EAC4C9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3D99714A-60C7-4684-BB35-2F665D3D44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1AD8EC4-56BE-4C73-8BC5-582B2B8A30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968B3F7-25F8-42CC-AC84-F9545104039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894CDB1-8F4F-48B7-8440-94B1185B23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7F04602F-427C-41F6-A75A-E250E857D9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C1AA09D5-2B19-4DEC-A100-07E3240914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14CC05F2-5638-4ED5-9BE8-A5CA451ED9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63A215DD-05FC-4949-8948-89C5A89761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FF26C9CE-BC41-4062-BB70-47DCBE441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9FD2E4C6-67DD-4D41-8177-C48D9DC785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59DFC867-364D-4C92-8EA0-C29BA087AC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9F3AE600-2B60-4D2C-9392-437504110D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D6DC1F71-DCEB-45C0-BE04-4FC28FFFFD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E91E2445-0966-4888-9C91-EE9167D65C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2FDBF2C4-DBD4-4233-9302-D73908556B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44F08086-F67A-4329-A3D8-8B4DF2A376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7749-49ED-B5EC-713EAC426D09}"/>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749-49ED-B5EC-713EAC426D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93F4B9A8-CBB7-4E09-ADBE-50C816DF41E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0647F39-57B8-430B-941B-083B6E20C9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DA0D6C92-5F22-49AB-B060-E770F3B68F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C5C2C048-F369-4E5B-833B-E525ED62B6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B905687D-6347-4B85-8531-C01D377290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91BC7CD4-8F05-48DC-8EBE-E3F0437ED70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F8D78688-B4A7-4FE0-9754-1AA2486A43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0FEF0F7-FCBA-4040-AC9A-B1C2E577C8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815FFB26-DF11-4D32-9D21-8D773FF570A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FCB45DA5-298C-444B-9B71-8D40452BAC4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9466951E-D0AE-4DEB-B3DF-8C5D4A80E2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B107FB9D-B20F-42E8-A729-E4937EBCFF0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4852A46D-0245-427D-8E8F-4FD6E4F91F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ACACA7B-E136-4C84-9C2D-9E5DBBF880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8E011260-0360-46CF-969A-6E89D642A3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0AA0A934-51DF-401F-9CED-7E16AFC975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BC8897B3-C6AF-47BE-A893-2B0C44F603B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FE3839EE-64B6-4AAB-9A43-87DD6B5CA6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6CD1EA74-D701-43BC-99B7-AB87DDDE9E8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B00BFE44-632D-462B-9DE3-285812762CB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62B12142-A83D-4944-BB05-23DD72F0307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622F2D0-4941-448C-A62C-533E27C6CD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2E7231EF-97E0-4C60-BC08-8A2A9035064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62AB0AF7-E8BF-4D8F-87EA-F7EAB68745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4F6ACD0-3786-426A-8DE4-8F1A9E0592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B94ACD90-318E-4A04-82C4-59E04A9207A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9AB7F37C-CCE1-4F4C-A96B-BA65971E42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288BF807-0B19-4C42-BBD9-51212084B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1CD68C5D-E131-40EB-9550-5AAB9A344B6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F894ECD6-7971-45B1-94E0-3C13C3FEE2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705DBDF-3A0C-4E68-BD04-BD571931914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F28F9F11-871A-4F83-AC2B-41DFAEA9BC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887419483554693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911532BB-D139-4EC7-9434-E297D844909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855A48D-94E4-450F-9859-29BD1DE3B5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F802CCD2-285C-4BB5-971E-89C9C87178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5C5D5737-B9A6-4E9D-BF8F-8F48C7C87C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90DED5F0-4DA0-4C1A-8BC4-521E3EEA52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07F3B388-9914-409D-9808-6D15B7246A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2B3A06B0-3B0C-49C2-8197-D59BB9A0C55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1D260021-7ADC-4898-AB7D-103D276F79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815D690D-2DA8-4A2D-981B-D48CB9315CA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F77ED1A2-E009-4257-A7D2-6E5BD968CAB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035C6D12-3FFC-444A-A5C7-E66678E6AE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AE440A81-A2D3-4181-9953-C01C58B718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2E79183C-AE93-48C8-BBB8-742EDC5B9E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EC87EC8B-9311-4BA9-AA42-D89210830E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341E44BB-138F-49C6-805D-1C582C6AB8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7EEC546D-CE26-479F-9354-D470D25130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FFD42B3C-2346-485E-A1C6-3C9B3F5F0CE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A73B148B-F8AC-493E-81A4-721722A5AD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8D300813-9030-4FAF-886A-D74586BE24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BBCAF04-EFAF-466D-8FAE-119C2FD4105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3E14EAFD-EA07-4EBB-9BFC-81A1EAA8F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53B6AB94-3C62-4E25-AB47-8146F0B1F5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ADB053C-A6C8-4268-8E88-97CDBD8CEC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C738-4A3D-98BB-3D0CBF671497}"/>
                </c:ext>
              </c:extLst>
            </c:dLbl>
            <c:dLbl>
              <c:idx val="37"/>
              <c:tx>
                <c:rich>
                  <a:bodyPr/>
                  <a:lstStyle/>
                  <a:p>
                    <a:fld id="{32A1D34A-5566-469E-9D21-09D1A70E64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F2B424DA-CED3-40CD-9879-8927426770E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8660C75B-EE68-4CD3-B244-ABC73B8723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EBFDB17A-47D7-4115-AC45-A7B488F3BC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A03F7A37-B9D4-42FF-BC1F-43815544D3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1A34F9FF-EB73-4552-B26A-DED85291AD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6F8DC716-3164-4653-A1AD-33D1391774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6C6FC00-AA97-4175-8DA4-6454902F7CB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5EC5C90F-A88F-4A15-B1D9-C7B7B1258F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7ECAC4"/>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CECC9AA-CF46-4731-82CD-0336D83AC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ACA6B49-15E8-4BE4-B067-9C51C2444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ABF85FF-8E2D-4A51-8896-65317ADAA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B99A105-1D3A-42F0-95D3-F8CD85486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A2E6E51B-B075-4D00-B189-8F86028C7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88DC766F-ED14-4CF3-AC5F-5A2D3588D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5837975-2DD0-4A7B-944D-F35435CD6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B685625B-5D6A-47EA-83CB-9939EE83D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9CC57AFF-7B53-4853-ADF7-C9E085FDD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284386B-6D62-48EE-8859-4B76DB6CA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A60E5372-9110-4E77-B2BA-B68F60E1B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E6D690AB-ABB8-4834-89EA-6CD4975AF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2662B0CC-375C-4432-9F12-C3287CC07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2A6535F9-3821-4151-AF69-07675FD89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64D51336-E589-4320-9557-1E8527FA6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EFB55CAB-66F7-4AE9-8881-78B22737F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0C84BC75-E6FD-40D1-8B01-12582CA26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64EB87B1-8AC6-4804-A034-A6DA9FA05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41079885-0F5F-4816-9884-FF5273BA4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61CB4386-37CF-4B09-81BB-F5AFB8EBA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6327E6F4-3804-482F-A9BF-59C0BE525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FB40915C-1437-461E-BAA1-88D4D96A6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765A9BA7-5A4C-4359-BCB6-D85B9DD32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47104136-8E7E-486C-8F18-34E684EC4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59F2135-888A-4597-B79B-F866E6696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F511D0A-E7BF-479D-B179-912C75ABF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3D04924D-EF45-4EEB-B287-1CFCB87E1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A9CA14FA-4A87-4852-B62E-CDEB26ADD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074A491D-CB4F-48F8-BFE0-56B80D319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97307BC9-3FF8-4DF5-B5CF-F8473C8B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868AABB-599B-4BD7-93E4-A49C56F08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11C4E308-7964-475C-9C1A-26B6239B6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9C31EDE-5E93-49C5-8694-2A99C35B1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422E6EB5-6D24-4F88-A01C-77B8F20B6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93C2D4FB-D444-4290-954D-3839F43DC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0A28173F-9485-4C7D-88CC-012B4BB25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C517A56D-E140-4AEF-8EDC-63B79EFE6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B55548C8-EB9E-41E0-AA0E-C5C04E2C2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A1CB0D76-4E4D-445F-B61A-D3322DDA7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0B468C88-7902-4964-B4EF-98F06DC5F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5E4DA701-63BA-4714-A0FA-44D173BDB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361A6BE7-4137-4CE4-BD79-9C35EC06D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99C702B3-9F7D-4745-8290-91742B6ED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25F664A-3DD0-4B2A-960D-C05E7F755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2ECA1E1C-F2A4-4C7D-9E28-7F1B4B7A2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541CE57-F920-4A9C-8A36-6F0E82A81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D4199877-546C-414E-8468-8A8B87183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3EB09E93-C8D6-4B2C-A8E9-74487DD19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DF7343AD-5940-4F26-85B4-6AE3D7C29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55EBF29-9CDA-4BF2-8943-A67922F9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2ADD8D76-E912-4ED3-B99A-87D51EB3A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22E48767-3C99-4DB6-A9BC-0C42B4494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A81D360B-B1C8-4E06-8999-3C009FD08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FF2B518-F73B-4570-BED9-993E78AFD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F16BFD81-C5CF-4053-9644-9299CCBCD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A72066EA-F621-4DB7-B097-D352AD5D7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DE604E2D-24CF-4AE2-8CCA-3F41EAB6D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7D12DC5C-680A-47D8-A935-5143DDE71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5414A12-7E44-42C8-A4ED-F3026835C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9091EE0C-6458-4027-A7C1-53BA0D415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414BBF2B-52AC-40A7-8E85-747A408BB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3E6BD563-B7DE-471F-97B4-15F7C5140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C26C9492-4636-4CD1-9DCE-82B716623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E8E416DF-9C60-4827-A0B9-55747738A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F2F8A051-75DB-4BD6-82C5-0816F0873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14A5ED47-DD17-4069-BFAA-4407EB14B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A9DC9EB6-23BF-4106-B03B-1221D6C65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080BE57C-5705-4559-BE37-749706872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318BE4FA-FA48-4EEF-9F40-EB8C278CA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5F7A5AE-90E1-4AF2-B0BE-7B319EA15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E748FF09-0704-457E-AB94-DF18BEED4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5DBA01F-EB34-473F-9DFB-7520A814B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E62EAC3A-F141-4D7B-A77F-B9A4A06B9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C0A42408-5E74-4189-ADB6-621FA3B2C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7254638C-116A-440B-9DF2-95209231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C8949254-EF72-4D44-A333-03D3D35D6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95CDA7A6-FC16-4277-BCFB-893A62CAF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DBB78068-FF66-4210-87D0-4B9361FE6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EEC4858-BD4C-4BF3-92F0-9221F728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AA1505DD-62C5-4A15-850D-6FD7F5051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9EC64B08-8CE6-48AC-8EF5-C391CB161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0D8975B1-02D9-44C8-951A-9325D3320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AE468A03-5C3C-4AA5-8105-67A2F950B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4A4C6393-87E7-479A-A497-286D45DAE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EA3E103C-D949-4F1D-81C5-D196F6CEC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C53F7D5-F5A7-4538-A0F0-1F0B20F8B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62AD6066-E519-4EA2-BCF4-2F5D6C71C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6A4DDC60-300A-4AF4-9447-D70FCA9BA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E7B6F836-4D5D-4263-A741-A2B6E169E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A0F17177-7676-491D-87D2-E4AEEE822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941FB3BF-942F-41F5-940A-9001B6486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9F75EDCB-5DBE-4AC6-ABBC-FC1A88D84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3FDF2CF-CB20-43A1-9BC9-1EFE83F02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B0B4EDB6-CE53-48B7-A77F-DF5E9BFFB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72106DB0-87CC-4A6F-A89E-524750379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4892974-8790-4C62-AD53-A63A45ED5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9D60DD4B-5B04-4957-823D-075682CA6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7F5C957B-155E-4307-9087-718FD8E94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4E5D07F9-1076-43E3-9B78-B6B809F06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F9103444-B8FD-4A4F-92A1-50B23FC74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C7D7872F-F3A2-4FEB-B11D-50B6D1A18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940C01E8-6986-43BF-B792-42DA2C3EC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05DEB3DA-DD0C-4858-A9E2-1E3989779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AABB0ECC-2701-4B6B-ACB9-D7BEF7444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C70AB8A3-6FA6-4C4D-ABCA-1A3999FB3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45395173-6175-425E-860B-C5B1451A4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0F4669F2-6D43-4DD4-8370-305C2C0A8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074EE235-B9DD-4E84-8379-C3373726A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A2575468-8347-474C-B4C6-E59603FBE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D15BEB69-9D07-4B21-9B7C-A55E97A8A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E1DA72BA-FB74-438C-8BE2-826697DB5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D03909FD-B294-4492-A995-1D1E77E6C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4FB555E-9385-4E49-9283-3808AE95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40F99408-F7D6-40B5-B804-34B05E044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F984F19-8B31-4969-B88D-ADA008639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0D192C65-C9C9-462B-B911-815F087EC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1.7224132063395691E-2</c:v>
                </c:pt>
                <c:pt idx="6">
                  <c:v>0</c:v>
                </c:pt>
                <c:pt idx="7">
                  <c:v>9.1688710957997632E-2</c:v>
                </c:pt>
                <c:pt idx="8">
                  <c:v>0.1008775144845046</c:v>
                </c:pt>
                <c:pt idx="9">
                  <c:v>-8.5369613682766091E-2</c:v>
                </c:pt>
              </c:numCache>
            </c:numRef>
          </c:yVal>
          <c:bubbleSize>
            <c:numRef>
              <c:f>Sheet1!$C$2:$C$11</c:f>
              <c:numCache>
                <c:formatCode>General</c:formatCode>
                <c:ptCount val="10"/>
                <c:pt idx="0">
                  <c:v>46417119</c:v>
                </c:pt>
                <c:pt idx="1">
                  <c:v>892564</c:v>
                </c:pt>
                <c:pt idx="2">
                  <c:v>10301310</c:v>
                </c:pt>
                <c:pt idx="3">
                  <c:v>423084</c:v>
                </c:pt>
                <c:pt idx="4">
                  <c:v>2887750</c:v>
                </c:pt>
                <c:pt idx="5">
                  <c:v>1929113</c:v>
                </c:pt>
                <c:pt idx="6">
                  <c:v>9544</c:v>
                </c:pt>
                <c:pt idx="7">
                  <c:v>773970</c:v>
                </c:pt>
                <c:pt idx="8">
                  <c:v>4032718</c:v>
                </c:pt>
                <c:pt idx="9">
                  <c:v>330412</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Dollar Shave Club</c:v>
                  </c:pt>
                  <c:pt idx="6">
                    <c:v>Van Der Hagen</c:v>
                  </c:pt>
                  <c:pt idx="7">
                    <c:v>Comfort 3</c:v>
                  </c:pt>
                  <c:pt idx="8">
                    <c:v>Schick</c:v>
                  </c:pt>
                  <c:pt idx="9">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C7425B31-1D69-47E7-8E33-B41F95C6466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E1E6B73E-302C-4607-97F5-F4FE0DB04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E792FC05-018F-458A-9182-A689E4BE7B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F296F7B-EEB3-4EE9-BA30-A66263FBBF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FBBA48E4-9F5F-4440-87AC-56F5EFB723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74005C64-0B4E-4203-B336-6ED31C488CD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F6E274F-F3AD-4AA6-974C-E26F1953C6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FB57DE6-2179-4745-B804-F3EEFB6CDA9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AEF3EA6D-D7A3-4A2E-A6BA-EC652B8153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01452F10-92CD-4747-96BC-3047A00F239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29A4DDC-F851-4983-8774-E67258E1BF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051496EF-663C-4C26-A60C-9E81D64F4CA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98D4FB49-1554-4C98-B803-9F2318429F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5AB3426-59F9-42EA-80DC-14CEE02A81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CB8C415A-3018-48FF-9634-A6C3B08101E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ECEBFE18-F802-4C3B-BE1A-909E308E06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803B62E3-8E87-44E6-B258-3AB4629E11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C1DFC2FA-CBF9-43BA-814F-8B6204C26A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1BCF412-39AF-40EB-B517-7EB33357C4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ACAFFE6B-BF08-4D81-9477-A89EA0E964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B547905F-696C-4236-9E17-EDBEAE5C44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BA09B27C-D601-4572-9D83-21C2559EC10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7581084B-F777-4D8B-9E6F-84AE74E0E1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535D4F1D-FC80-43F7-B6D8-CE50D39316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2F04EC6-8D7C-4244-B15A-126F320CB5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9AF1AECF-B51E-49BE-AF06-F53AB9FB19F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733B896B-34E6-4F57-9525-1A3312D5CE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1136777D-1DA4-40B3-B96C-5A06AFA355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251D72EE-0CC8-473E-9B09-A0223044D85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F5CA9BD3-E7A9-4AB7-878A-86683374D1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8A2033C-1073-45FF-92F8-E8949A9001B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707FAB02-6857-4711-B71B-CA0BC5F77C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6">
                  <c:v>0.27296962627611887</c:v>
                </c:pt>
                <c:pt idx="37">
                  <c:v>0.17453825430309394</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0">
                  <c:v>0.24556815422262904</c:v>
                </c:pt>
                <c:pt idx="1">
                  <c:v>0.12186627985917273</c:v>
                </c:pt>
                <c:pt idx="2">
                  <c:v>0.19020254195511926</c:v>
                </c:pt>
                <c:pt idx="3">
                  <c:v>0.14035021039385501</c:v>
                </c:pt>
                <c:pt idx="6">
                  <c:v>0.13979818966998886</c:v>
                </c:pt>
                <c:pt idx="8">
                  <c:v>0.1107149157860795</c:v>
                </c:pt>
                <c:pt idx="9">
                  <c:v>0.27963165388015088</c:v>
                </c:pt>
                <c:pt idx="10">
                  <c:v>0.30659868045015343</c:v>
                </c:pt>
                <c:pt idx="11">
                  <c:v>0.22902332526611374</c:v>
                </c:pt>
                <c:pt idx="12">
                  <c:v>0.35224439425224668</c:v>
                </c:pt>
                <c:pt idx="13">
                  <c:v>0.37066507242125163</c:v>
                </c:pt>
                <c:pt idx="17">
                  <c:v>0.41596848634506278</c:v>
                </c:pt>
                <c:pt idx="18">
                  <c:v>0.54930090504076889</c:v>
                </c:pt>
                <c:pt idx="19">
                  <c:v>0.64936726085181662</c:v>
                </c:pt>
                <c:pt idx="20">
                  <c:v>0.39265997978384265</c:v>
                </c:pt>
                <c:pt idx="28">
                  <c:v>0.16810621011354024</c:v>
                </c:pt>
                <c:pt idx="29">
                  <c:v>0.37472799959516218</c:v>
                </c:pt>
                <c:pt idx="30">
                  <c:v>0.18009022613699702</c:v>
                </c:pt>
                <c:pt idx="31">
                  <c:v>0.35760854777776613</c:v>
                </c:pt>
                <c:pt idx="32">
                  <c:v>0.29457202831441714</c:v>
                </c:pt>
                <c:pt idx="33">
                  <c:v>0.18821315197200955</c:v>
                </c:pt>
                <c:pt idx="35">
                  <c:v>7.6286530039083214E-2</c:v>
                </c:pt>
                <c:pt idx="36">
                  <c:v>0.73146017747291625</c:v>
                </c:pt>
                <c:pt idx="37">
                  <c:v>0.76191558441558438</c:v>
                </c:pt>
                <c:pt idx="38">
                  <c:v>0.54784805207422516</c:v>
                </c:pt>
                <c:pt idx="39">
                  <c:v>8.5957627198036402E-2</c:v>
                </c:pt>
                <c:pt idx="40">
                  <c:v>0.40227635961702191</c:v>
                </c:pt>
                <c:pt idx="41">
                  <c:v>0.45470476227770895</c:v>
                </c:pt>
                <c:pt idx="42">
                  <c:v>0.424101578180128</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17223A4-AC20-48F6-ABF7-16D833D789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B68FF912-3A02-44CE-BCF7-220A96C380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9AD30A89-BAB0-422E-9222-3BDF72708B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BDCD457-6CA9-41C8-830D-99002D8898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3B507DAC-3F34-423E-9B51-AB4321374A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3875CDD2-22BB-4A87-B667-2C6EEBAAA2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52949BD-E2FB-44A2-8B77-71ECD31BAF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54C054A6-08C3-4B08-B742-55A85E536C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9B777BF1-B115-40C1-A19C-4F09DA35E9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5308F040-D700-4957-924E-9279FAD87E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10748551-33D4-42D6-8FD6-A05B438005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03D32966-7C61-45D5-A4CF-F98EC7B5A2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A3089E98-C427-4105-A673-B1A4033F6A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DF8B38A9-D71A-439B-8A55-E5AEA148A2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3DE68CE-AA22-44BD-94EB-A984D1C85F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03004592-96A1-45AB-986E-17AD03DB1D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8D47BC3B-B19F-4DAD-A0B7-C39DDCB8B9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0A392310-941A-4382-918E-4175647EED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B2B59558-692B-4F99-B470-3DB03C6502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AFCF8816-12CF-4781-9B28-89E45D0E35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D0A8723B-E8B4-4F19-AC7D-3089CE85B1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9463093-DC12-47AB-92E8-E7F0A3973A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59942D92-54D4-4574-9C1E-A871592138B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CDE0C7C1-160B-4E3D-BAA7-286B7561AA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634A34F9-357B-4FCD-8A49-73BE2A9505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9006BC70-2D19-4571-A5D8-20266D3C60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0BB37C3E-F005-467E-8C19-1406EE5F47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10417106-11C2-4B80-86AE-BBB929ACDB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8CBE610-0847-469D-99EA-A50C55FCC8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77E-4F29-87DF-0FE64D0B037A}"/>
                </c:ext>
              </c:extLst>
            </c:dLbl>
            <c:dLbl>
              <c:idx val="49"/>
              <c:tx>
                <c:rich>
                  <a:bodyPr/>
                  <a:lstStyle/>
                  <a:p>
                    <a:fld id="{7173FDDF-9D61-4921-963C-1C855C8E98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6C0E8858-C947-484F-BEC9-6CC6EA2941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4CDBFE37-0673-4A32-B7AA-7AFD0FBAD1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1">
                  <c:v>1</c:v>
                </c:pt>
                <c:pt idx="2">
                  <c:v>1</c:v>
                </c:pt>
                <c:pt idx="3">
                  <c:v>1</c:v>
                </c:pt>
                <c:pt idx="4">
                  <c:v>1</c:v>
                </c:pt>
                <c:pt idx="6">
                  <c:v>1</c:v>
                </c:pt>
                <c:pt idx="7">
                  <c:v>1</c:v>
                </c:pt>
                <c:pt idx="27">
                  <c:v>1</c:v>
                </c:pt>
                <c:pt idx="28">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8BB8-4534-B4AD-AFE0C149C62B}"/>
              </c:ext>
            </c:extLst>
          </c:dPt>
          <c:dLbls>
            <c:dLbl>
              <c:idx val="38"/>
              <c:tx>
                <c:rich>
                  <a:bodyPr/>
                  <a:lstStyle/>
                  <a:p>
                    <a:r>
                      <a:rPr sz="800">
                        <a:solidFill>
                          <a:srgbClr val="00A097"/>
                        </a:solidFill>
                      </a:rPr>
                      <a:t>6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B8-4534-B4AD-AFE0C149C6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91F831E-7713-468C-B299-5CC484BF7C6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8D5D6514-3C01-4CEB-9712-CC8D2A13A94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FC028DAA-9638-4C04-9FBE-E3D0CA73306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34A1FC48-35F3-49FB-B609-1F71950CED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5FD8E51F-08BA-43A4-BE18-12097A447D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744E3F65-B896-4443-8686-F06D1281E51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7CC7BDA3-CC8E-46AF-BC15-8F3F024C67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88EB7518-9C25-4EE6-8383-16CDC65DEB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C3F8AAD0-E204-400C-8027-0849439AA3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BA70F9A9-6A81-417B-B632-2853D9D496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AB79A3F6-BE97-43B6-B57B-171ED5AD92C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0502C81D-10EB-4987-AEB6-728BF50DC5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5A115B53-CD49-466C-AB45-08DCD03A35C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1054CB7B-1E0E-41A1-97A7-4E623D34F2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B3698167-8D6F-452B-810B-07B004D4235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F5BB8EB7-7494-4CCA-8D40-06037994FE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CE6E5C8E-8F86-45A4-BEE1-824C0757AB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318E5A14-FF25-44F7-8AD9-BB577EC6453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F6B32ED1-FD3B-47E0-9B83-E89D63F4A2B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AE46B35E-72DC-43BA-8C26-530E7F295BF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285E3F19-082F-4697-995A-DF8304BAC9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5FBBF010-4139-4DF7-B55A-89F7170D6D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13EC3BCA-CC77-4013-81DB-41F0306FFD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CFE05526-E487-49FA-9617-2AB1C97D6B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C7BDEB0F-59EB-4167-AA27-ACA7A98D47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CB65C410-3664-4543-B7C9-1A4AD2913C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C738-4A3D-98BB-3D0CBF671497}"/>
                </c:ext>
              </c:extLst>
            </c:dLbl>
            <c:dLbl>
              <c:idx val="43"/>
              <c:tx>
                <c:rich>
                  <a:bodyPr/>
                  <a:lstStyle/>
                  <a:p>
                    <a:fld id="{DAAA4AD8-F3E5-45EC-B108-8E6F72B02D8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3AE31039-6E0D-4DDB-8482-06664C63A64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5E20DE98-CED0-4B77-B319-CB1A20747E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9FC67630-3554-40E2-938F-701E1C6CD2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61F1240B-9FF9-4684-9574-943EE9F052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9F308E1D-0A66-4829-9566-6BED29B281C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3">
                  <c:v>1</c:v>
                </c:pt>
                <c:pt idx="4">
                  <c:v>1</c:v>
                </c:pt>
                <c:pt idx="5">
                  <c:v>1</c:v>
                </c:pt>
                <c:pt idx="6">
                  <c:v>1</c:v>
                </c:pt>
                <c:pt idx="7">
                  <c:v>1</c:v>
                </c:pt>
                <c:pt idx="15">
                  <c:v>1</c:v>
                </c:pt>
                <c:pt idx="16">
                  <c:v>1</c:v>
                </c:pt>
                <c:pt idx="17">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2A0D-4C4E-8764-37F327B291AD}"/>
              </c:ext>
            </c:extLst>
          </c:dPt>
          <c:dLbls>
            <c:dLbl>
              <c:idx val="38"/>
              <c:tx>
                <c:rich>
                  <a:bodyPr/>
                  <a:lstStyle/>
                  <a:p>
                    <a:r>
                      <a:rPr sz="800">
                        <a:solidFill>
                          <a:srgbClr val="00A097"/>
                        </a:solidFill>
                      </a:rPr>
                      <a:t>6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A0D-4C4E-8764-37F327B291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8">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FF6E37A-BD00-4F99-8C1F-E6D34D8200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C51891A9-473B-4EB4-A96F-66D32CCABC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0134657D-C34F-4EB0-A527-B0C1A51FA89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7F62B12-1EC2-45D9-B945-D8E75538CB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1E560A61-BD79-4077-9814-EBB025BB5FA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F45F062-9E41-437F-BDDF-CF60C65701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30CBE7AF-D50B-4401-BADA-99C7CF62BE6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A68EC8F-EBBD-425E-8D78-D6E34D3543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33377E38-BA6E-4E83-AAE6-B4B43B4FF9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0613188A-1E97-4AE1-BFCD-E9FE409169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21C9E43F-1C3B-48F8-A8E9-933F9BF6F6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FFD4F4E9-F974-4D7B-AC5A-3E863FCE5F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B8450061-E9A1-45B0-826D-FEA63DE65E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8268AA5-3860-44BC-8319-5A77DAB32E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4F147BA1-CD57-43D3-BB65-F86E3449A5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9A2B63AA-3450-4BAC-AD77-8FABC4C082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4D351EA4-CB4A-4434-B278-F54375A9AF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AAB0187-B401-4BF9-A3DE-C35B9044FE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7D05393-3DC6-4284-9FBC-673D755989E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0664B775-F80F-4FA3-A0B8-499619A792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1EB3D1DD-B6DA-45BE-AECC-F5B769A51BD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D1D1B67-12B3-4862-B5C4-2506AAB7F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D8E669FB-6422-432D-967D-DADB00BF436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6BD8F5E-B8DF-4475-9586-C0F8D47CF9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1C19279E-7CFB-400C-909E-4EC1D1B2210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2F7D6475-4DB3-4807-9D01-C51C8DE80A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71572903-E400-419A-811F-F61CE0C3A44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C0F47BD4-2132-473F-B2D2-A4CA830D46A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D7321D83-29C4-4917-B647-AD0766EC00E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C738-4A3D-98BB-3D0CBF671497}"/>
                </c:ext>
              </c:extLst>
            </c:dLbl>
            <c:dLbl>
              <c:idx val="49"/>
              <c:tx>
                <c:rich>
                  <a:bodyPr/>
                  <a:lstStyle/>
                  <a:p>
                    <a:fld id="{36341AF1-7EB3-4250-B650-848225E1DE4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3B97BC15-C4AE-46AA-B54D-604098813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33C5405F-70E3-4AE2-AB28-0A3FA55CA5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B$2:$B$53</c:f>
              <c:numCache>
                <c:formatCode>General</c:formatCode>
                <c:ptCount val="52"/>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pt idx="43">
                  <c:v>2025-02-02</c:v>
                </c:pt>
                <c:pt idx="44">
                  <c:v>2025-02-09</c:v>
                </c:pt>
                <c:pt idx="45">
                  <c:v>2025-02-16</c:v>
                </c:pt>
                <c:pt idx="46">
                  <c:v>2025-02-23</c:v>
                </c:pt>
                <c:pt idx="47">
                  <c:v>2025-03-02</c:v>
                </c:pt>
                <c:pt idx="48">
                  <c:v>2025-03-09</c:v>
                </c:pt>
                <c:pt idx="49">
                  <c:v>2025-03-16</c:v>
                </c:pt>
                <c:pt idx="50">
                  <c:v>2025-03-23</c:v>
                </c:pt>
                <c:pt idx="51">
                  <c:v>2025-03-30</c:v>
                </c:pt>
              </c:strCache>
            </c:strRef>
          </c:cat>
          <c:val>
            <c:numRef>
              <c:f>Sheet1!$C$2:$C$53</c:f>
              <c:numCache>
                <c:formatCode>General</c:formatCode>
                <c:ptCount val="52"/>
                <c:pt idx="37">
                  <c:v>7.4932268643946962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766903962365737E-2</c:v>
                </c:pt>
                <c:pt idx="1">
                  <c:v>-1.7983837495581523E-2</c:v>
                </c:pt>
                <c:pt idx="2">
                  <c:v>-4.221284997340066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0</c:v>
                </c:pt>
                <c:pt idx="1">
                  <c:v>-0.42900000000000005</c:v>
                </c:pt>
                <c:pt idx="2">
                  <c:v>0.125</c:v>
                </c:pt>
                <c:pt idx="3">
                  <c:v>0.55600000000000005</c:v>
                </c:pt>
                <c:pt idx="4">
                  <c:v>5</c:v>
                </c:pt>
                <c:pt idx="5">
                  <c:v>6.5</c:v>
                </c:pt>
                <c:pt idx="6">
                  <c:v>-0.8</c:v>
                </c:pt>
                <c:pt idx="7">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1.1233410174915606</c:v>
                </c:pt>
                <c:pt idx="1">
                  <c:v>20.833702869625981</c:v>
                </c:pt>
                <c:pt idx="2">
                  <c:v>2.0855384269140949</c:v>
                </c:pt>
                <c:pt idx="3">
                  <c:v>-0.7943759315237866</c:v>
                </c:pt>
                <c:pt idx="4">
                  <c:v>-0.96615568323059575</c:v>
                </c:pt>
                <c:pt idx="5">
                  <c:v>0</c:v>
                </c:pt>
                <c:pt idx="6">
                  <c:v>-1</c:v>
                </c:pt>
                <c:pt idx="7">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37123161-C39F-4431-8007-80568C551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477BEAA-70DC-4760-B2D4-18DC6A152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07E96CB1-4E5E-465F-80A3-B4501E59D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D04166B2-2614-4ADE-82BB-8AB146152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7935767-C5D7-440D-84CC-F5E281AFF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7DB73D6-293E-4098-9211-91095C4BE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D921F06D-D63D-44CD-B5F2-A5851FF79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AC63C03-9B1D-4AC0-A512-F7B0119AA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073C8481-4C0C-4999-B3A1-F89643A6E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60F6DFA6-5577-47D8-BCB7-562BA9A8D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E9CAC75D-ECF2-4A27-91C3-ABC41EAE2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B785CFDA-2023-4851-86C5-AB1873DF9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579506E0-1752-4A7F-9E8A-0845F399C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2CF7D75E-E3A1-4362-B6DE-AF5CAACA7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6D9E7E1C-6240-473B-B57C-A8EE77FC7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AF966D58-A3CA-466F-B18A-2EFCD34C7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A6DE5FA-A0F8-4B76-9A2A-42B136CB0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1F489FC3-9E11-41BC-8243-DDF3B27E7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74173954-0B36-40F2-B642-CBF5C8307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87E0E9D7-53E0-4C10-B582-5437A2A20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7909ED0-6F54-4F02-A800-CD4A6D309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ADB6CB8-6153-4F5F-BAF1-92176FBBA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CB566050-046F-4B5B-A972-C851BD94F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A9308160-C4D0-4DC4-B49F-1A34965B6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3B057709-587F-4644-8200-1E214745F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493A4F33-8708-456D-8DB2-8CCA35910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91E74FA-BA5C-4D93-838C-C0FB8652B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A7EA01F5-3A3A-4ED8-ADDB-DF31B4DF8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15568EE5-5ABD-4228-9EA3-9F15CF41C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D734AF5-D277-4CE8-AD5C-F2772F1CF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4250654-4024-492D-A89E-842563DB5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7100E7FB-E751-44EE-AC3C-E45838B7F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F70DAE06-F66C-4F6E-9D01-D1B4334B7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41B28BD-BFF6-490B-BE11-0A268A1DD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41367E1-424A-49CB-A9E7-11C166DF0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7ED3EB2A-E54E-4315-944C-AC33E8D1E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0BE3CEB3-70B1-4307-9095-6B8880F3C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182D90F-25D1-437D-90B9-56E38BC10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1240E47D-7390-42A2-B454-14F7CD72E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C7FF08D3-601E-45DF-A1A0-EB0474B56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4E352129-D3B7-45F9-9AC0-ED12AD8D4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2CEC89AB-B823-4818-BA89-C34CBB935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3C2CFD38-6EE1-4FC1-8808-18F37A4C0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D98733B2-8318-454B-868E-D1DDD2EE1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1AEED444-964C-45E6-AD99-5A180BDC9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12FDDA4A-6F62-4591-9BF3-92DE03978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D344273E-B4ED-4194-B5C8-49A34ECDD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BFF41AEF-8FA6-421E-AD96-FACA2CB8A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A343CA25-6844-4FEF-A772-416C99F4D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B6A67993-7DA0-4DCE-9536-C6A665CE2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69872F2A-4D56-427C-88CC-105093712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CA48FF75-AFFD-4D69-8051-C2BA4ABB2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561E645F-2DD8-48B3-9AE6-0C79907C2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F479B274-B435-44A5-8ABC-8EE37B23C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465AD6D2-7543-434F-989B-361FB8BB2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096C8C40-3858-4933-8F89-E5F38FB6A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3E9BEE78-E486-4DEC-AA5A-0D2C9C3EE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A006375C-1396-492D-91FF-BCE09A1DF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C312DC5B-0510-44F5-8067-1C98B65C5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56B93EB7-A978-4993-B498-8B0686191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9094716-459E-45D0-B372-B3E7CCA8A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B22BB79D-B23B-411C-9EA5-F0BE06499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C70F8DA4-C459-44BB-98CB-41D252529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3DDF03B-C559-4D47-A272-EFF538673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29D2A806-4E9F-47E5-8FB9-B2EBB2BA4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47CC75A7-7991-4A2E-BA2B-A05A4623C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EBDFD27C-D184-4FCB-A135-8FD60433D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5394C60C-B1D0-468F-87E3-ED02E2A9C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704161BC-AA7F-47F3-B3B7-C2EE1CAFB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BF8343F2-BA39-4C82-B715-80029894C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95D47E4E-C8F8-418D-8FD2-38704D9D9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83EAA1F-2930-49C2-9112-0611D1663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1E83CC5B-BD18-4691-9627-717996EF2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10A1AAAF-826A-4814-87D1-8F4094CDB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F3A1FBAA-A0DB-4724-9375-0AA5C6C92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D3F5226C-C959-4AB1-9601-B9D5A2FB0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EB36CCD9-9B15-4247-A27A-82097DFCB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8B7AD7C0-39B5-4CE8-964E-1E56EE229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48CD54A2-F882-4B6C-A9D1-BAE6F684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4226CE22-F56D-400F-AE82-254834EFF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062634AB-98CB-492A-B6B3-27B7E00A9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E3D28F0A-BE3B-47D4-972E-18773AF36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5525BE7-6635-4B3B-BD90-58EC7E573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B0CC7EF7-5D02-4CE2-8D14-0EBC28C8D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F8555F2B-A354-4311-A932-8B7738BB3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2619F2A-354F-4B05-A48F-7DDCC9547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A3A5850F-6FFA-4558-AC02-66FBA2020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2EEA904F-A3B4-48C7-A3C0-6A6446882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8ED7BB68-4B8F-48A5-A76A-D51AC073B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1E35F628-957F-40BD-934F-981611D5F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D8E390DC-F62D-4BC7-BF7F-D62596D03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B0775ED1-8157-4100-9587-59767AEFF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E3073903-6E5C-47EA-B68F-5CEB3FA07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A4CE95B3-99DE-40B0-822A-1D0BDAED5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A7664008-5A16-496D-86A8-638556068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1FE1FE4C-D114-47E7-AC33-827701DFD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569F10AB-B1F0-4782-B875-266A678F0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9CCAC783-704E-4622-981B-F088D4ACD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98796246-1FE7-42EC-9865-D0D21C2C1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7E877289-E617-46D4-8AAA-EFFE34304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07FC7399-38E4-4698-BC04-2C712916F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88A2CAA3-9465-4B59-BD40-1C0F1A04E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33B5CD3-2F19-4C05-881D-917936755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0D42A61-E05D-43A2-AE14-5570CB4DA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C9D323D7-00C2-440F-8767-7CCB54816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56375267-2F35-49BD-BE84-993553F7B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F9F1796C-D8AB-4003-9503-5589D4D36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93E63FC7-EF04-4C8D-900C-73D417FCE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14D96BC7-AEE9-49D6-8F42-BDA3C2D76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4359D08C-F782-4586-A200-55E31BAC3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488B9743-5F64-4058-873F-CE7502B62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A3678526-9890-497A-ABF8-F693186CA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2FBA3096-5E2E-459D-B344-14BD1EDF3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B008E68-0A10-479D-B2FB-17C6FCC78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16FDF8D7-B1F9-4B17-B878-60F618DA4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BBA91156-E273-40FA-9B85-EB165996C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56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523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extLst>
              <c:ext xmlns:c16="http://schemas.microsoft.com/office/drawing/2014/chart" uri="{C3380CC4-5D6E-409C-BE32-E72D297353CC}">
                <c16:uniqueId val="{0000000D-9B05-4EC0-B6C5-883B60DE7730}"/>
              </c:ext>
            </c:extLst>
          </c:dPt>
          <c:dPt>
            <c:idx val="7"/>
            <c:invertIfNegative val="0"/>
            <c:bubble3D val="0"/>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1</c:v>
                </c:pt>
                <c:pt idx="1">
                  <c:v>0.42900000000000005</c:v>
                </c:pt>
                <c:pt idx="2">
                  <c:v>8.6999999999999966E-2</c:v>
                </c:pt>
                <c:pt idx="3">
                  <c:v>0.55600000000000005</c:v>
                </c:pt>
                <c:pt idx="4">
                  <c:v>6.5</c:v>
                </c:pt>
                <c:pt idx="5">
                  <c:v>-0.66700000000000004</c:v>
                </c:pt>
                <c:pt idx="6">
                  <c:v>0.66700000000000004</c:v>
                </c:pt>
                <c:pt idx="7">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4.0613590510432109</c:v>
                </c:pt>
                <c:pt idx="1">
                  <c:v>6.717742021337278</c:v>
                </c:pt>
                <c:pt idx="2">
                  <c:v>1.0934879901515977</c:v>
                </c:pt>
                <c:pt idx="3">
                  <c:v>-0.7943759315237866</c:v>
                </c:pt>
                <c:pt idx="4">
                  <c:v>0</c:v>
                </c:pt>
                <c:pt idx="5">
                  <c:v>-1</c:v>
                </c:pt>
                <c:pt idx="6">
                  <c:v>-0.85228162847384115</c:v>
                </c:pt>
                <c:pt idx="7">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4</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523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747610F-3567-4D5B-B13D-49376DBF5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499F13C-61EC-471F-B5FD-6B1324977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C594B77-4082-4904-9AD8-247BEE612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860536C-02B7-45AD-9C5D-3E873EEDC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5FA82B94-5110-495E-B465-7DE95FE70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D31BEC3C-D039-4A5B-A516-D07ACC047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28FAFC5-1967-46B1-A027-CC4781B3D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F4EE2D27-2155-4381-B2C8-31B603417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2E2CF8EA-8448-4AF1-94D8-91F145E83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CAF03535-CFAB-4C39-AD08-C0A5849A5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50C18595-98F5-42DC-97B3-6A8838E83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D52FA4B5-6A06-4B5F-8376-5E62CB537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E115257-E265-4603-A927-0905C5470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5EA025EA-B196-4705-90D9-8ACD70195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C1056118-9794-4441-AA8E-2FFD23D01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1EE633EC-CDA2-43A3-B390-03B543494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A5D81ECA-C676-4DFA-BFF2-B49EBB5A8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102E2E51-9B57-4606-99E2-B005E9F00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EFD2955B-79AB-4D81-B2F8-630F6C681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B6FD7E72-E0F0-4274-A010-48E40ED74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28190F25-CBEA-4D74-BDD9-137C849C1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BF84A5FF-37F7-4B74-B259-C0C9C9FBA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1DCE3F94-957A-4D4A-AFC0-83ECF5837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4FC5033E-6B5A-45A2-95C6-45D8E3F0F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F8491B27-FDDA-43E4-B475-33ECBD5A4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89ED5EBA-C906-4860-B94F-9DF58EEDC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3112D486-FF1D-41E4-9655-238822072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245D651D-AE61-4544-A3A5-09BD3C38A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168C0D2E-7F7A-46DD-9DE1-66B4200B6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46985DFC-5A4A-4656-A5D0-817F224A4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8ABB3312-27F0-4CE2-9DB0-61D0DA31C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1E6F6DB1-FB7C-455A-881C-A0DD71D9E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40A4C6E0-52E3-4345-AC9A-85CC03BB0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47611D41-CE1A-44D7-ACD0-9D62849B2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B7FF0E5B-67F3-46FC-9169-034AF988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C54A41E5-5DDF-4434-9011-480A0F443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B688E4FB-847F-4DE9-8FB1-8549D0629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47465BA3-6814-45E0-ACAE-9D4A5439E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4CFE1E32-B454-4AA3-98E6-EF321BAA4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66A6ED69-65A4-44AF-A4E0-ADE7D40AF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3269B820-164A-470C-8B37-D21505D3C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FBD27579-F570-4553-AD9E-B22C7B8AE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150023AA-0824-4839-A200-0E6163BCA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7D56DEEE-5C6F-4119-8AFF-29858496C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489E518-70CF-4D5A-8177-17B21EDFA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9A3FD7B3-BAFF-403B-9B5B-78ACEA673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0435C8C2-D10E-47DA-B368-4815AB936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E371C535-DD16-4121-B5A7-E69CF55C8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A19E24E9-F702-415D-B9AE-B032A20F5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7AB87B82-0AFD-49AA-BFF4-8AC7A0455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A1753CE0-D95A-4A0D-811B-3316ABF7B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D0B2D2CE-458D-41FE-A8FF-7C510493F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8DFF0283-BECF-4423-8CD3-838FE02DF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470A1D79-9101-4D4E-9B5A-2F61A7096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D55A89D0-A554-41DA-A15E-9F6C233C3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69062D55-23BB-47EF-8E27-2539E07C2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11DB7063-103D-4A00-BCEC-7FB0A8830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629E260D-B755-44A7-818A-B984C0CEF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C2507F12-BD6C-42F7-9215-FFFE64A6A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E49D356C-A082-4734-B8A6-03B4D97B2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57B5DEC1-AA26-43F2-9007-A7BAB742D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0F95838-8E1D-4A16-BD65-16D233129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3388E753-D2CD-4C62-8C27-83F509232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5238325A-38A8-4417-82C8-A4207A80B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F5B5E256-F68A-47F4-BE0E-D7EB131F9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10DEC48-302A-425C-9C44-8F9CA3823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625F8EE5-4742-44D9-ABC2-E9E30F9FC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FFC7A07B-D8B5-4B6E-A438-7BFF2848E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C1CFA9F3-A083-4DFB-915C-2090F9793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C2038679-F6C2-4CE0-8FA3-FC2319BB2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15158600-AD41-4161-B302-CDFA81C3A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8D5099A0-622A-4135-A5E6-1EA697C05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F7B68D6A-4CA4-4506-B14F-BEF3225E4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C6D31E27-B546-4BF2-8E2B-1DC94F291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71BF53D2-86C9-4741-9656-712BC2971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B09E0C4A-3B90-4E56-860B-D2D7750A0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20DD36B6-A4FC-4A80-B86B-A76365D1E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A90F7E2-497B-4119-A82F-32E200822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D8BCDFC4-BCF1-48AF-8039-F1279BB9E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7055B68D-5543-454C-94E8-1AB749484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C90AE37-783E-499E-AEF0-5CF526DE9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C128DF21-98FD-4AE6-8F2D-338EB9C2E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6F8498F4-BA78-4253-AECD-BD6F887E5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72660437-EF59-4B56-9474-57259F63A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C381F847-ECFD-4FC9-A056-A840CF3F2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114F0D7-61BE-49B6-8782-E184BCE25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9C770CC2-C15A-4563-AB8B-F0D6FD355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9B4345BE-A6B2-4296-8D34-93377F213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B79497A3-F8E8-44E6-AB9A-E7401AEED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95BC3C2-00A2-4929-BD98-BADF6F679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50B731CF-13E9-4125-84BC-BC498AF36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2CAD92C7-624A-4D7D-A5CF-446F6413D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52085309-BAB4-447D-9FAB-B9DA506DB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2402DBD3-E709-40A3-AA28-E951EE0C7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7E679B4B-7296-418D-8648-268EFBBE2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B977BCD8-8B74-44AD-AF26-CFF544FC9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2E60344-88C2-4DE9-BF1A-26F809EFB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61087564-031F-4720-BFEF-DFF29B36C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D11A769E-B0E2-4C99-BAB4-28D8969D4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7C4BD6E2-2D1A-4135-9E61-1D9D42023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25391FF-A553-4F53-8491-A546C6186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E01B1AF9-AF16-4AEE-BDC2-EA4A4662D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C3947561-BB34-4DF6-960A-AD0D77055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34844B80-9C54-4352-803A-CD8A6CE8A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20E50B70-5F92-4193-8696-CFE4C235C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DA239AD3-BE05-4E1F-9088-5A13AF9F3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34840995-6C98-4B0D-8ED9-0FDFC4A99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66381AE3-93F0-4815-9EEE-FE9ACB25B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FC2DE5A8-0390-4EBB-805D-6A59BB289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4F3A6696-98AC-4CF2-89F7-1F6FCFAB6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E8153E50-F471-486B-B037-78B728FF1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7D0407C8-54F3-4213-8CA4-E5D1EE100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377C2BA-7335-47AA-94CB-0A1F23188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038787C0-32B5-4DD6-9681-327A0BB21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23855CA-80D6-4B83-8CB5-C21882611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CE44FC6B-8BC2-4252-A5B2-91FF8D3F8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18282392852590251</c:v>
                </c:pt>
                <c:pt idx="2">
                  <c:v>0.23134599885546031</c:v>
                </c:pt>
                <c:pt idx="3">
                  <c:v>-0.2460181021092871</c:v>
                </c:pt>
                <c:pt idx="4">
                  <c:v>1.825977826586209E-2</c:v>
                </c:pt>
                <c:pt idx="5">
                  <c:v>7.0110274499276856E-2</c:v>
                </c:pt>
                <c:pt idx="6">
                  <c:v>0.20840312314567949</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64.021145198394706</c:v>
                </c:pt>
                <c:pt idx="1">
                  <c:v>-2.7431698324417653</c:v>
                </c:pt>
                <c:pt idx="2">
                  <c:v>-1.5635257684543784</c:v>
                </c:pt>
                <c:pt idx="3">
                  <c:v>-1.3240000607143927</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51696987151861</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829532767688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c:v>
                </c:pt>
                <c:pt idx="1">
                  <c:v>-0.17500000000000004</c:v>
                </c:pt>
                <c:pt idx="2">
                  <c:v>1.25</c:v>
                </c:pt>
                <c:pt idx="3">
                  <c:v>-0.8890000000000000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7624472228571966</c:v>
                </c:pt>
                <c:pt idx="1">
                  <c:v>2.6360938181587117</c:v>
                </c:pt>
                <c:pt idx="2">
                  <c:v>-0.4658879683808137</c:v>
                </c:pt>
                <c:pt idx="3">
                  <c:v>-1</c:v>
                </c:pt>
                <c:pt idx="4">
                  <c:v>-1</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1</c:v>
                </c:pt>
                <c:pt idx="1">
                  <c:v>1.0710000000000002</c:v>
                </c:pt>
                <c:pt idx="2">
                  <c:v>0.44399999999999995</c:v>
                </c:pt>
                <c:pt idx="3">
                  <c:v>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8.4931012668750618</c:v>
                </c:pt>
                <c:pt idx="1">
                  <c:v>-0.54165499869192579</c:v>
                </c:pt>
                <c:pt idx="2">
                  <c:v>-0.64569720819071874</c:v>
                </c:pt>
                <c:pt idx="3">
                  <c:v>-0.83358088080508452</c:v>
                </c:pt>
                <c:pt idx="4">
                  <c:v>0</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E6E5E5"/>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6F14298-5B10-420F-A0FB-605F5FD19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981F748-B281-4FAA-90FB-804A83F6D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1952470-72C1-486A-9D33-79DA24548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7B761A19-ED87-4DE3-8C66-BF9FF3DFC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726D5DE-CFB9-45E6-ABA4-94A602A52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7AFE2C5-E4FA-425D-85D1-C85A94CD5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9CC0846-4ABE-4C8D-93D8-1E20B3556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CA5FD8C-EE3D-408B-8C64-0FE627679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7F00185-86F5-4F2A-ABC1-624EEF93E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7E0D6156-0EBB-4C69-ABB8-124995F3F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954F66F3-4925-491E-AFEE-092FE5DD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6B7FDA47-96A1-48F1-A8C6-12F20CD0E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F59D8981-F8A8-4032-A7BB-690379D3F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ABEE70DD-22CF-4CC2-8695-4ECFF5228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56A3D5D3-D4EA-4BDD-B21D-580BBD9FB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0E41361F-DC00-4EAE-B6FA-68F88DF5A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F24002F-FA6F-4B62-B7D3-8463D1CB0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74B2FFC-1505-4CB1-80B5-BE8853DC7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6E5BF39B-8562-4B64-856F-B17899AE3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BCADD689-8F90-4DA0-BE7E-DAC6354BE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7E8C392E-D812-4457-9844-65670C91D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7B5683F-D5C0-46DA-BA09-A740C886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C769B0AC-7066-47B1-93BF-47EF83FE0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1EAC824B-B1B0-4D0F-A3DA-CB75540B4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6569776-0394-421D-AD1D-A8FFC4291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A8B1FE9A-62FC-45EF-9F79-18255C9ED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7EA2E0B-E505-4E0A-92D7-6EDB0D3A3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6FE2880-D7E4-4C0A-BF6E-9D444285E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13B58A7F-1961-46D3-87DC-FB370EE8C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CE5E2889-0C40-4D99-84DE-2AA1A7966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F0C54E93-FA6E-4B70-B63F-ABE69A56E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48D9C934-683F-4196-8C1B-07B6F7EA5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98ADA438-3A95-4E19-95E5-2E186BB7E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49B2DA21-6B7E-419B-A2F4-EA1536305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F73CA902-9C30-42F1-8C11-6648636CC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61631022-5A07-42B5-B1BB-51B230440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2031D7C7-70DD-4362-9F9A-903297C50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36F5C708-3F2F-47C3-8C45-0970ECB8F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8FE0D085-80E1-488D-A5F7-9C410E69E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84CFB27F-7493-4A4C-B138-467F9580B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D87349C-BA1D-44B2-BC1C-890E61129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F7D8B4F7-10B4-4414-A957-37E892FBC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770EC0B5-F728-40C0-9976-89BB5A290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6E563A6-6D93-444D-AA64-C802FA3A9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9AA1314-2D64-43E8-BA06-427D7078C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18C4807E-100B-4D73-B83D-F4A49E3DC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B8B6D0D8-0F50-49B1-A38C-EA48AF42F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E079CD8-873A-4330-BDC4-803A7E593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65CB9A85-0A4D-446A-9EB5-8B116790B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962FCFDB-9A72-491B-9721-91B127DEE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7CCD2824-4F28-49DD-BA97-B9C03DBB7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AA40A35A-E907-4566-BAE0-3347FF1C7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9D280E70-D935-410C-899D-126147E8A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CEB691B9-25AD-43F1-8A72-DC5B1A832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E0BFF945-C120-48FE-B4D7-FEAE81A14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03B8E5A4-B247-446A-A216-BE559596E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04C88C8-F9B0-4544-99DC-A9F3D84CE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DE9F65F1-464E-43CF-9AD5-5D23A0962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2715AC6E-A60A-44BD-AFB1-0C2B2F61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2C16303C-533D-4EE4-952E-82DD28E4C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34899AF2-353D-4702-9933-9123A53BA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9EAA5D21-55AF-4CDF-9F2B-C2A14BC07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5F3CC09D-32A5-4F5F-A74E-6FCC38986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1CCADE8D-9586-44FC-9FA6-57E69FFF6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1CF6F757-47CC-48CD-984B-0A347BC7F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ABDF15F-B3A2-4533-90B3-9EA052178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677B71C0-7963-4DFF-B2AC-5A1F569EF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C8BD29AA-D8AC-43BD-A5CF-16B9FDF62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86601AC-EED7-4C92-B6E9-35A01AD56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9EC9C12-0D5D-4179-88EA-42CA496F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67FF909-C22B-4275-B95A-2E468EC32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F276B30-231A-443E-8C96-3B94F7C65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BC5BB2F3-FA64-4100-A21C-9012EDD9F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E27C301-E336-43B9-B954-88F357E8E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40EFF48B-FE25-4F58-AE98-AED77B843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FBF81D7-9148-4A13-BE86-1AA5227A4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2EB6061E-E014-4554-BCC3-62FE4A70E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A058D200-76E4-42D2-81F0-186539058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5588503F-DD2D-4E79-A7CD-ABB26A5D1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F65EF65-F698-457B-9F05-F1FE57F54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841FE10-322D-40E7-918F-AC5671CBC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09274A92-896D-4B70-BA6D-F8D0F7E37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214B16C2-5BCD-436A-8200-BE356A94A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EA24849-6D3D-4525-AAC8-558D45FD0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1A7F9A9-53AC-4D20-BFA6-5D41ACDEB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9D98407-DA60-4071-B9A7-A19523A15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D511A48-30E8-4AB5-A27C-173F8DE0D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EEB6019C-CF7E-4E50-9BB7-9E713A087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F770718-DCB5-4BE5-85F1-64E2F5999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A6FD569-351E-4877-9810-B78B39B51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6925CFBE-DC23-4488-991A-83B253E9D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38A343CB-4E54-4761-A494-EFBC2A5BC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695291DE-C3AB-4601-B271-8C3D6C301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A83B843A-0811-41F8-9ED7-0E9786B1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6284970C-78CB-4302-8CD0-2C5559A20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2BC9EAFF-77CA-4C7D-83BB-6B24A4879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2EA9BAD2-AFA0-4301-978F-E09B2BE1D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5257173E-8935-4DA8-9103-D60AACA4C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1C5F703B-BD19-4B76-9340-7C3B22494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04A9642D-6183-4526-BBB0-95CF13CB4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F10587C2-584B-42FE-AA42-90855E772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FE0A6CC4-46CA-445C-90C9-461B9B1C3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D0B86621-5AE8-42FE-8FB6-1E6AE4DC0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2A09B979-043A-4C9A-86F4-8CC274B09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38DC2ACA-00A0-4DC0-AB20-2317899AF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FBEAEC37-1D12-4056-B424-64A098EDF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6FE28105-044E-4AA3-B2BD-BD6E76E7E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B530463E-C290-49D8-A20A-9C29A79BE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9BAB49EE-D93A-4465-B2E3-3746BEEBE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9FA2D630-FE03-40DB-819B-D5F0D71D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3AC30AA1-5A05-44E7-BE86-62E605181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A11F0AF5-5BD5-45C5-A697-8AE03E992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5A982653-1C2A-4BD4-82F4-ADB9D8E02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FEA46E1C-86F4-47A7-8269-9F23C4597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4B999AA6-CD18-43B8-8024-109CA46E2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F2012111-4DE7-4B44-AC1B-A4D3F3717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29727399282</c:v>
                </c:pt>
                <c:pt idx="1">
                  <c:v>0.23134599885546031</c:v>
                </c:pt>
                <c:pt idx="2">
                  <c:v>0.53171493485300692</c:v>
                </c:pt>
                <c:pt idx="3">
                  <c:v>0.16872448312720459</c:v>
                </c:pt>
                <c:pt idx="4">
                  <c:v>0</c:v>
                </c:pt>
                <c:pt idx="5">
                  <c:v>0.17147629346397339</c:v>
                </c:pt>
                <c:pt idx="6">
                  <c:v>-6.0466840881934934E-3</c:v>
                </c:pt>
                <c:pt idx="7">
                  <c:v>0.13293961100065049</c:v>
                </c:pt>
                <c:pt idx="8">
                  <c:v>-1.7224132063395691E-2</c:v>
                </c:pt>
                <c:pt idx="9">
                  <c:v>0</c:v>
                </c:pt>
                <c:pt idx="10">
                  <c:v>9.1688710957997632E-2</c:v>
                </c:pt>
              </c:numCache>
            </c:numRef>
          </c:yVal>
          <c:bubbleSize>
            <c:numRef>
              <c:f>Sheet1!$C$2:$C$12</c:f>
              <c:numCache>
                <c:formatCode>General</c:formatCode>
                <c:ptCount val="11"/>
                <c:pt idx="0">
                  <c:v>56285498</c:v>
                </c:pt>
                <c:pt idx="1">
                  <c:v>6252872</c:v>
                </c:pt>
                <c:pt idx="2">
                  <c:v>892564</c:v>
                </c:pt>
                <c:pt idx="3">
                  <c:v>10656803</c:v>
                </c:pt>
                <c:pt idx="4">
                  <c:v>423669</c:v>
                </c:pt>
                <c:pt idx="5">
                  <c:v>4603858</c:v>
                </c:pt>
                <c:pt idx="6">
                  <c:v>1471589</c:v>
                </c:pt>
                <c:pt idx="7">
                  <c:v>6271036</c:v>
                </c:pt>
                <c:pt idx="8">
                  <c:v>1929113</c:v>
                </c:pt>
                <c:pt idx="9">
                  <c:v>9544</c:v>
                </c:pt>
                <c:pt idx="10">
                  <c:v>773970</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Harry's</c:v>
                  </c:pt>
                  <c:pt idx="3">
                    <c:v>Gillette</c:v>
                  </c:pt>
                  <c:pt idx="4">
                    <c:v>Harry's</c:v>
                  </c:pt>
                  <c:pt idx="5">
                    <c:v>Bic</c:v>
                  </c:pt>
                  <c:pt idx="6">
                    <c:v>Equate</c:v>
                  </c:pt>
                  <c:pt idx="7">
                    <c:v>Schick</c:v>
                  </c:pt>
                  <c:pt idx="8">
                    <c:v>Dollar Shave Club</c:v>
                  </c:pt>
                  <c:pt idx="9">
                    <c:v>Van Der Hagen</c:v>
                  </c:pt>
                  <c:pt idx="10">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61F18894-9D7C-4AE3-9365-88837733B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B5970B36-2EC6-4EAE-AEC9-D363B20A7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02357A9B-2E6E-49C8-9CB4-4173D3D62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3492BD6D-31CA-4128-91A5-29796BDB8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7E545A1-C310-4B0A-A4EF-A276BF8DB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C936B21-8ECF-4FD3-9753-B5170F71F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0F0310B-FCF5-4B69-A88F-9695D821C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BC8CE56-0FCF-48F7-ACD2-59314017E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AF2EC2CD-D314-4CA0-96A5-BAE27FF3E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22B2212D-9377-41D3-AF17-35EDA7548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D568BA28-542B-4A26-A629-A5120ED9D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364305EA-E1A2-406B-9D5A-D6C968AD4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96F94BFC-3283-4B8D-85F9-7DC20EE63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D1E523B0-3681-426B-BB51-7567B1852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6009C794-D5E4-43CC-87B0-D5C384374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1FA4BC3A-2CE3-480B-8B32-58EF1DB65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DC2E755E-0E16-4A02-BA6C-311B8519D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F052757E-834A-48DF-A1F2-CC25D9AFD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7F45A53-BB28-4B24-A439-7190CED18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0FA7BB5F-460C-4B39-B8E6-971441D2B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0EB99B81-DDE0-4A27-AC54-2E4EEC14A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1025EE09-9018-45C8-8C7A-FCEBE0E46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EDA15A8F-0718-44A9-8F94-345CDE03A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18603E5C-81E9-401C-9DF4-ABF981384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02C8FC5-31B7-4991-85A0-EA1EE552C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518ED08-A96F-4062-8A10-9FB62E121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4F539494-154F-46EC-A6AF-7A0D0968E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85BE0A8-226F-4264-BC82-CF26EF32A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64FB8973-3FD9-4F06-9E04-F11A4E96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F80D0E3B-60DD-4175-A519-C06ECAB81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85C694FA-4711-49B6-BA65-0FF24DD29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94B98C45-4121-484D-BD3F-508A56028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CE9DBC43-9B20-4A34-9B85-A76761E91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E72592F0-BD83-4FAF-8177-3425D70E1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A1B7250A-1ECF-49C6-BDA5-76B77F156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669ADE6F-EED9-4222-8C2E-CCBF694A8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2E189D69-920E-4CBA-AFA5-09A249CA6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8B34E3E8-7447-46C6-BEE7-37B37293C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C4077C8F-D9D4-4121-B38B-27725CCAE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89A8396E-5B76-4335-9DBF-E68BF8789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85BD28FA-0035-43FB-A219-5D44874E4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1958982F-06A9-43DC-97AC-2A97BDEB3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22F5DA0C-CC9A-436A-87B2-956C5E067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7B90E0B5-8A1C-4A0B-AB60-3CA89DE31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5359ACB5-BF56-4D5F-B455-51B4C7737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DB82D89-AB78-4EB2-97FD-2542342C0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93CDE2D-B72D-47AB-9B73-8D5ED333B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D168EF86-F814-4F6E-BCF7-7045F865E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076B840B-562A-41CE-875D-4D81404A0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82510441-4646-4E0F-9DEF-671015644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F1D34018-E63C-4A09-8199-647976CCF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363DB967-E2BF-44F4-A8CC-FA3B4029C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92FFFF34-F78B-435A-B4C7-FBB367D22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7DA76BB4-360E-4FAF-BD0A-CB2FE4A29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6478861A-4C90-4419-8007-B4F8A2324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166CB872-453F-4260-8159-DF0DBDFD2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DE40BF8C-E51C-47E4-AECE-8FDAFAA91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812ED0D8-47C7-4207-9796-33F36252C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1D356D3D-BF8E-41EA-8D99-70BF84157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1BF3DE95-251D-4468-8445-69FDDC6C4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EA710309-AEC4-4E17-8288-05418E9F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E5AA51D6-3A32-46E1-AA0A-220E07EE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F9586477-8C40-4D5B-9FB4-ED277CBA8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266884AD-C212-443A-967E-D660E519E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5D438ADC-24E6-4EC9-9EB4-AE4FE1769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DEE43132-25C7-42BA-B57D-A75D1BE28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BCAFB41F-B8AC-40B6-AD75-CEED594D1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F00D990A-0D5A-4752-977C-7C3451E4A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9FCC9C0A-DD25-4157-A818-65E5ACF73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E1BB660-C123-4D02-869D-D70C7425C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E61F5C2-709D-4968-885D-3EA399C0E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FBBE407-B52D-47BC-AF8C-7C04CCAE8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B7D934A7-7E53-42A0-A3EB-D40357DF6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96F62F1-6461-4AED-9CE9-5DB049891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0A8DDC4D-AA5C-4254-9F33-F965F1436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7DFF1691-D1A6-4DCA-AF24-4F1E0BE35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004C42D7-6768-4D7C-823F-DFC12FF4C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03F673DE-0915-42BF-B7D3-F0A63628A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BB6C03C6-A1C0-48C5-AF84-A6EF8BABB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1BFD405A-7E3B-497B-9482-3014CA209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7F9CC512-B3B1-4B5D-B8AD-A7580368E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6976AA67-9652-475B-868E-73F855E74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8086C19-8B3B-475A-B022-9E37EB2CA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B5B9D655-1DD1-493E-AC80-3FB080BD2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DF4BD203-55B4-4942-8DA0-67416E814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CCDD977F-8A4A-439C-96FC-AE5A2FB5B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901A008-D115-4E21-9721-3EF02F86C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218EBCAB-29D6-4EE0-A2CB-3310D5880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F4D8D7E6-045A-4F82-9CC7-DF1EF505B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DD0C735-C326-4071-93BE-744400E64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7B15D837-A3CD-47C8-B838-510B1DC9D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DF6B2616-A1DB-475E-99F1-0523F6FE7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5F2E350B-64E5-4431-A62F-AC8DE26B8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2B84A2EA-F7B9-4E9E-9886-71BA67495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A976AF06-4F76-49C6-9B1E-CBCE91DA6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A75CFE0C-18F2-407C-916F-4957E0F6E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1D47CC47-A3F8-4580-9DA8-415C40703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201205E6-BC3D-473C-AF0B-67C53DDC9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3E45DDF7-AB5F-4507-9E52-47158F25A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71419862-A1BB-4F03-81E5-A73E0BCE5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54373F8-DAE5-4FD4-849E-30EC89EF2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6A9A98F1-EE72-43C2-ACD7-4A86786DB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00CCD52A-1BFC-4336-B8BA-7A4546C5D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3FCF0EE0-2381-4E44-A934-C458D64CB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A2DF5205-10F0-47EC-B378-DB5879E31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B3AB7BFF-8C92-4C50-9195-41A166848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3FE2F512-986C-4242-9C99-82F8412F8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6D1D6B8-1A95-469E-9D19-076F8ACE9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159A5A12-B1E4-4A9C-AAF8-E3DC739E8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97C2DAFC-0996-4CB0-B1FE-DF8F60E0B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0D9CFDA2-46DB-4C41-9A3E-CFDF32ED2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8868410-5162-44DD-982D-A334EA105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9730DEA-CC97-4531-ADA4-4C19019C8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47A85788-16B9-4D96-92E3-AABC2B5C6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4B5A53DF-A7C1-459F-AC87-28352D5EE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E39880E-05B5-45B2-A916-468270196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4.4656760499171042E-2</c:v>
                </c:pt>
                <c:pt idx="5">
                  <c:v>0</c:v>
                </c:pt>
                <c:pt idx="6">
                  <c:v>0.47459336693573279</c:v>
                </c:pt>
                <c:pt idx="7">
                  <c:v>0</c:v>
                </c:pt>
              </c:numCache>
            </c:numRef>
          </c:yVal>
          <c:bubbleSize>
            <c:numRef>
              <c:f>Sheet1!$C$2:$C$9</c:f>
              <c:numCache>
                <c:formatCode>General</c:formatCode>
                <c:ptCount val="8"/>
                <c:pt idx="0">
                  <c:v>8411779</c:v>
                </c:pt>
                <c:pt idx="1">
                  <c:v>892564</c:v>
                </c:pt>
                <c:pt idx="2">
                  <c:v>6219905</c:v>
                </c:pt>
                <c:pt idx="3">
                  <c:v>151938</c:v>
                </c:pt>
                <c:pt idx="4">
                  <c:v>899507</c:v>
                </c:pt>
                <c:pt idx="5">
                  <c:v>8373</c:v>
                </c:pt>
                <c:pt idx="6">
                  <c:v>1670207</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Dollar Shave Club</c:v>
                  </c:pt>
                  <c:pt idx="5">
                    <c:v>Van Der Hagen</c:v>
                  </c:pt>
                  <c:pt idx="6">
                    <c:v>Schick</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9167003-6976-4F04-8FEC-A676FF67A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E1F5769F-07AC-4AE0-A4DB-4858B0FE0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04A1A1B-B3B7-4250-BDF9-8025C12C7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6584043-9B20-437D-B026-563122283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5E08C90F-A586-4E01-B5BF-239A9E784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44D1CCD-2804-41F3-BEE7-6394058E1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C43D3BA-20D4-4418-9FE5-06B02347D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F6EBADD-97F6-48AA-A131-D58E5746B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BD51990-D2D3-4FA4-830E-7F2BC344F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F624982-7E92-4B4D-8F76-27B7F2635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FEDCD124-B817-420B-AEE9-BFA610858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05F42778-35DF-4A0A-8E82-AB3269EE8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AF4C27A3-365A-4338-85B0-4C2E1E71A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CCD9FA22-A911-4498-B71A-6ADEE2F30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5960833E-85A9-4E47-884C-426546701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25836248-1BBE-4CC9-B47E-7E493C06F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A47D6E43-6D86-4294-A4EB-38FDB9376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978E06B4-65F6-401B-9811-A12FBCAF4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6E3A0161-F955-46A5-9E15-B63BCAB80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C021BF85-CCCE-49E3-9A0C-95BED8E03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AA0AA8CC-8976-4294-9850-054C71CDB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84427F1A-47B7-43C8-B48D-EFE858FC0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87F6EBF1-75C4-4CEC-8E19-BBC0F2685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214FA8AE-28A8-4B36-948B-041DEA84D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721BE08D-686B-4BF3-85E8-473BA5197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A7FF739-F246-4E32-9629-8549600B3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CE182E98-1A2C-494C-B48C-A29B22165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E754B08C-C708-449F-97CB-9032FBFEE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62F8FA6E-3B44-4080-B359-E02A39028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D106EDF4-FF72-40C1-A4CB-07BD62E65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892E52AF-A94F-4E41-9B73-ED53A21DE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DF1E47E9-40D6-4AB5-A7FA-93B4F2C61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7EEF260B-4628-4606-A9BC-D79A75D1B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0E5DE75B-D727-4DB0-919B-C53064354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2E459B86-F8F4-4522-B5BB-96E897D22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8656159A-05F0-47DE-B76C-1D66E8857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D136CFE-A223-49CC-A15C-01F02252C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64C8B122-0B85-44C2-810F-24AC657F2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B3AEAFCC-8FEC-4AE3-9361-AB60F890D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9DF093C5-5DBC-40EF-A075-A3400FA4D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68B51A23-2245-4F93-AD96-1EE069611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B168B2D9-1E70-46E0-A252-AD479DCB1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B17855AC-71F5-49F7-BFC2-4F162AC1F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F25C5986-57DB-42CA-9BE3-6A814852A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61B2D258-949A-4619-B0BE-8F0484F13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6837B0D8-7A2D-4833-A33D-D8EE0F73C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D376367-8C63-4D7F-B963-EEB76C205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F4F8C5B4-969D-45D0-86BB-1A4F15698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E8D25B14-B783-4B64-8F91-BB6584138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7345342-BCBC-47D5-916D-BB6D00A56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DFBB3F86-3C64-4BEA-BE97-72B63191F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24303C61-DE33-42A4-95C5-C4163BA22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791830DC-C643-4403-AD62-295AC17A9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2CE0F0F7-C491-4538-8FA4-AA0F45FD6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76E0F930-A9E8-44D0-A0D6-6E474C606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BC6430EB-6760-487C-A802-6E65C6033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9AD8D4EC-61EB-400E-8612-3A5424013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7D9DFD44-3E7C-4621-87CC-FA1B6716A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18C29CDC-EC77-45A2-9378-6109302B1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328735EA-5C49-42DE-870C-FC7552D61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9D572779-F6F7-4BEA-AFD5-54C66BD96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5D65B16-F1FE-4D81-B319-AABE5154E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B94670F6-F647-4722-8143-7DE6D263D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6473AD8-97B4-4B58-AC24-5501EE3F3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CFD468DA-7167-4C51-82F0-9B87C6B43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DCF1808-96D8-4A1F-91DD-D463243EC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5659495C-4504-4416-B466-B852749DA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3BE7AC63-B0C2-444B-952D-537EC840D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FAA11CB7-A84E-4502-9897-337E42FE3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E6350FC-DF3A-4569-A949-33E908284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DB6B82F-D3E7-4C8E-8939-23DDB5DE5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41551981-9874-4B46-971D-E715623E6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DADA0309-97D8-472D-A34F-FECE4C288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5197CFE-AE17-4E37-AEF8-0CF901C4B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77489277-5422-4794-A1B4-A72BB2F89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BC8047C-8635-4BFD-82E4-65518E510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E81408F2-9494-4BBF-A12A-943B710E8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3346F5FA-0592-4889-B036-2E3E34572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78332E90-89AE-40A1-8EE7-B81A1F17C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B6CB05A-E339-4057-8C31-0306F4C7C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E4619545-7EBF-4057-9C1F-65F7A157D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1F52D3E-B5B7-4F10-9447-51FA11391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482BABF9-129F-4634-9D2F-F9A3F2BEB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C1EF3792-698D-4068-80A8-EA66F04A1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B3C3FCD5-C339-4307-B58E-F4F6018F9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013D9EDE-7F1D-4ADC-B553-FF01E794D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1F26D188-C0FF-4E60-99F7-618DDA4A7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07F63B30-D781-4365-BDC0-D6C27DCF0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22F60EB3-49D4-478D-9ECE-FB06A96E0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D44CE0CE-F1E2-4785-8870-8378B408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DB5464EE-A6F9-471E-A813-E4BEA4B5E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54C0A3D4-96F5-4A32-98E4-30A114651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198360CB-5847-421E-AA86-EBCF8A543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237E1504-ECDB-49A4-94F9-5AE123FBF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BA8D3F8-5FA6-4AFE-B4C3-5D6914B68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86C19F74-46BF-46DA-9490-73C786D56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A89AA130-715D-4B27-8E7F-D5098110C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6F3A16BD-77D0-480C-98F0-6C79FE4C1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C6185C41-7763-4320-857D-AD2AD30B2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BBB7DDBD-9B5C-44DE-8D08-077A43F41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042500B-45A6-4C17-BAE1-3C497DBD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2666983D-71D1-4A58-B305-63A2353C6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2A112984-65A5-4C70-8AED-BD6547417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21C89FF5-A913-4943-BADA-CB3992D1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337590E9-867B-4858-B8DE-B68BBC106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CC772EB8-4C7A-41C3-83F9-290B920B1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9CF1FD96-72B9-4ED1-A2E0-DEA1FEFE5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B7957F6E-BAC2-48C8-AB78-F199BBE9E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7FCD87D4-7D1F-4397-88CE-791B3CD64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BD856FC7-587E-46EB-88C6-A54960B83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80F5EA42-8FD7-42F8-98A2-2E8E7F52C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69560495-C79B-4F1F-91D9-81C9A3C94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BE41213E-2D51-4DFC-BE2D-740F146C4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A1C0EFFD-18CC-4270-9E28-390630011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E49B4E44-5321-498A-BC8E-3070ABDEA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65C4EE5-89F8-4A7C-9926-DF70D687B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63428580415</c:v>
                </c:pt>
                <c:pt idx="1">
                  <c:v>0.53171493485300692</c:v>
                </c:pt>
                <c:pt idx="2">
                  <c:v>0.1834971672284611</c:v>
                </c:pt>
                <c:pt idx="3">
                  <c:v>0</c:v>
                </c:pt>
                <c:pt idx="4">
                  <c:v>0.31549780780224967</c:v>
                </c:pt>
                <c:pt idx="5">
                  <c:v>0.1008775144845046</c:v>
                </c:pt>
                <c:pt idx="6">
                  <c:v>-1.7224132063395691E-2</c:v>
                </c:pt>
                <c:pt idx="7">
                  <c:v>-8.5369613682766091E-2</c:v>
                </c:pt>
                <c:pt idx="8">
                  <c:v>0</c:v>
                </c:pt>
                <c:pt idx="9">
                  <c:v>9.1688710957997632E-2</c:v>
                </c:pt>
              </c:numCache>
            </c:numRef>
          </c:yVal>
          <c:bubbleSize>
            <c:numRef>
              <c:f>Sheet1!$C$2:$C$11</c:f>
              <c:numCache>
                <c:formatCode>General</c:formatCode>
                <c:ptCount val="10"/>
                <c:pt idx="0">
                  <c:v>46417119</c:v>
                </c:pt>
                <c:pt idx="1">
                  <c:v>892564</c:v>
                </c:pt>
                <c:pt idx="2">
                  <c:v>10301310</c:v>
                </c:pt>
                <c:pt idx="3">
                  <c:v>423084</c:v>
                </c:pt>
                <c:pt idx="4">
                  <c:v>2887750</c:v>
                </c:pt>
                <c:pt idx="5">
                  <c:v>4032718</c:v>
                </c:pt>
                <c:pt idx="6">
                  <c:v>1929113</c:v>
                </c:pt>
                <c:pt idx="7">
                  <c:v>330412</c:v>
                </c:pt>
                <c:pt idx="8">
                  <c:v>9544</c:v>
                </c:pt>
                <c:pt idx="9">
                  <c:v>773970</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Schick</c:v>
                  </c:pt>
                  <c:pt idx="6">
                    <c:v>Dollar Shave Club</c:v>
                  </c:pt>
                  <c:pt idx="7">
                    <c:v>Equate</c:v>
                  </c:pt>
                  <c:pt idx="8">
                    <c:v>Van Der Hagen</c:v>
                  </c:pt>
                  <c:pt idx="9">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F4667A00-753D-4192-A556-BF9E75748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53D7FCF-6CF5-47A0-947E-64A69503B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37A911D-FC13-4DA8-A8AF-E037E5FFC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7FAE9E0-BF1D-4209-AA6B-D1A328F85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64E7F752-B392-46ED-BFAC-938EC5D62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FDC0E90-4C77-409C-ACC5-33FCC38DC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ECE3D7F-2B70-4772-A626-732896714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EE05034-F1C9-459E-ACDF-4F007F734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F63FF818-C277-48A8-BA09-DD33E16C5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85883957-CDAF-4E82-A1A2-597F81257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3AA5AEBF-AB2E-464D-9B6E-58586CF15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41B9E112-D290-47C1-80C8-CA11110F2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92F4E172-6ECF-4EBB-B44C-E85EF2108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11AB5C60-B16C-4C73-B82E-6DAC6B5D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649CC5B8-3682-4B71-9B88-BC5B76FF0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F2A22CF0-771B-4AE9-A703-82523F49E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DEA5D64F-FA11-426E-8D08-0924AC1D5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53A12DE8-14F2-4110-94DC-23462B14A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73B898C6-9A49-48BE-B6B8-DD6BF1DD6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D5468C15-CFCD-4489-A71C-C3C07A028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FFE3660-2EF7-4D16-BD40-D277C6635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990D337C-FD08-4D29-A5D8-6C9304724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BFC0030-4753-41F2-97FF-2F0DA218C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B8A7C762-F037-47FA-9E1B-983EC5376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EBF878E7-E145-4E30-9D87-F2F6994BF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7D9EB276-0BCE-472A-AD0C-241E621C9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97B9DC20-9D30-44C4-9815-1660AA456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880F8A0-1DF1-4F7D-BD1D-C7C6A075E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B472411A-4DE8-49E7-9997-0E3BB2B76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217C8B82-0C8B-4A2D-9B08-8C452430E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41157E1B-7FA2-4EDE-BF31-77BEEE2B4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7B99DCCA-70D3-4A5A-8330-0C5700C28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4265A5C8-74D2-44A6-B914-FBA3CC990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511A6F68-6846-467A-8EFF-AEB45A220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BA01B98B-51D3-4303-8615-CD1B4266B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0D8A1600-CFDF-43F8-BF80-F02E8EED3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00A9A967-6A74-4F87-93D9-962BB6230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C2F45237-A522-4512-9AEE-1F8872FE2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34FFB95B-D8FF-4001-91C5-E75EB7BB5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42C9462E-25E1-498F-AE5C-FF0AED0CB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4F8E2F61-DF91-4A7A-917C-110B4C821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0017693B-EACB-44BC-92B7-8BA2CAB04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8EBFD803-ABDC-463F-B807-D8E5F32CA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FF04208C-C26F-487C-BDB2-863A8A793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1A2DD075-5308-4881-A7E8-3209B24F8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E835FE24-E705-4BDF-87F9-33F7CE9F9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E8758C35-D11C-45C6-99D1-F508CD6B7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E92C9120-4F18-49C4-AA38-8B53233C3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F4365384-2183-4BF8-BA24-476706EBC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B47CD997-6341-4555-9FBE-6BFEDF370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EA18EA2F-C175-4A59-974A-0B48ED3A4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2DEC5B6A-B81D-4D14-AD8C-8BDF2BC53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EE9C9BB4-548D-4E72-A7F7-8928C87D6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1BB7FAC-9724-4B00-AF30-99E9BDD70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04C57319-901F-443A-8526-9743E6CC5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DEFCE425-0018-4F83-A322-3C7731D9F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53891E48-77E0-42E6-B471-47E2685AB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0E6C2A26-1D25-4D2D-BAD5-505CB9843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3DDB458-194A-46E2-808A-93F0E8886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E5473C05-CF8D-4729-91BA-A4176DD61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589C51C-BDD3-434E-9F4A-F2804D576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23070A1-8C2C-40F2-A049-A3DCB2A24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24452247-1A79-4DCD-A36C-BE867C6E1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CA1A5F67-880C-41C3-B0A6-1660C885A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EE5B2B6C-9371-4B13-BFC2-36C7DC48D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C64A4C0B-B40C-4C12-BDE4-2AA67B72E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23382DDA-4F6D-4010-9AC6-6CA3F2E50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ED551418-3A0F-4CB1-A5CF-E7DBB87FA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C03CA2EB-2E7A-499E-AF14-D90DFE979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F49C37B2-FB69-4B7A-9B9F-AB82F570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66B85CA2-BE0E-41D5-93C6-D6F11351D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03EA84B-8A88-4C5D-A2AD-1E3AE91BE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C4F484CF-FF4F-4A89-81C8-938A25C4D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8EF10E7D-CC31-4EEC-8E0D-2819D88AE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6517B873-1896-4C28-85DD-2E0DCA36F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F8593FC5-08DB-4D04-9206-43CE4AA9D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25D90C5F-CCE7-4F10-9C74-3DBE19B6C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82427D0B-4A57-474F-BACA-50063C78F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2E4FD08D-F53E-4B49-A39A-63838F6ED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5DB9329-1B2B-4A51-8552-88EC490EF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091424CD-C20E-40C3-A1E5-4B7B105FF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DA577A8-11D6-49D2-AB31-1BA0365C9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9095E6E9-54A6-4BDC-A59C-A13C8257D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C0625EC-3011-45A8-AE77-F8A8FA779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571D379-10BD-4915-BAD3-304F3FE1D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C7308C98-0FE9-4134-91FE-1B541BC09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C47B5A2-883E-4650-ADBE-E649A0CF4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EF11CC62-AEBB-4CD7-A314-D22A249DE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32D62738-5917-4751-832A-C384140CC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7405C877-3415-48DA-BD3C-3A53FF0F0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C87B0EB0-3F3E-40CD-BD60-61652CB4E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FCE5B147-C381-4AFA-99EA-D4E50DD48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F2BFD919-BD2A-45CD-80B3-A4BAAE1F9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D28B6F13-9F96-4BED-9A04-5DD15133C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E577449D-C3DC-4BD0-80E3-099EFB401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705FD2E7-5A5D-4BA1-85AF-C3CAEB500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D1726222-B1D8-40C3-A952-5B1172441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EBBC4A99-91FC-4EA8-A13B-DD5D8390B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90CF35C3-F233-4D28-AAF5-182A796B4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E0E16FB6-180E-40B7-9814-25068D4DA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46AE2EAA-A166-4B64-9249-C70E0154A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2A26EF90-7BBB-4B25-BA16-AE25D6036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1F0FB23C-3A65-4CED-8163-96F75CD01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D12CEB45-C621-4494-9142-BCA3AD585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14F731BD-6AEC-4182-AF66-E063592B3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C9DBC957-A539-4571-8049-73360E6A9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BE2F6C9E-C523-4602-A502-6F12EC9BD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83162E38-B7D1-4257-869F-3E5B0922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882D46A-BBEF-4F39-9C7E-DAB494726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B4223C99-75CB-466B-95AC-B8A20B163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C776653B-BF59-41CB-A056-B53BDC11D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7E31A2B-D09C-4163-8C21-5681B4323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C8C6DF91-719B-4183-B67D-5F90448B9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4EF4B638-2F09-4A43-88AC-A5906A3F3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77D71E3-F652-4BA1-9BF6-FAFCCAE43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DB155FA2-F46C-42C3-820F-3DBEA567F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56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3140BBB-1B77-4F6D-B578-A65583EBB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850D9BF-5CC1-4B5F-B73B-4FAABF52C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8380221-9EAE-4B99-9323-3D68A1AEC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8B1A10B-7FF3-4C67-AF4E-4BAB4A2FB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7158633-67CA-491E-883A-FEE1CC76C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89A062D-9E88-4A8E-92A3-DC4B66980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94933F1-628E-4CC5-9646-D0389D696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EA104C0-EA67-42A4-8AB6-F2EE311BD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2625B558-4D98-4541-BCE7-10C4A8D23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1B8162A8-C0EE-4A1C-9DB2-30C7FB677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C8259499-C3AD-454F-B024-05A482175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7DE1EAE2-0684-466F-9F8B-67E979048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F1899D79-9C84-4EF9-9A49-C16622F70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D03A1E3-5ABD-42D9-B818-7823A8F89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30479C6D-7054-4727-A892-484670964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70FAF9D4-F89F-490D-A1A7-632227677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11F1AA85-FCDB-47E4-AC0D-51BC73A57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A396F805-B1C1-48A5-9A82-DB629B0FE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C336EC27-9936-4086-99C8-1CF3D0968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A4FA9D9C-743C-4ADE-AF91-8C948D859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41D6CF98-CD95-43A6-A9B5-4EE413C97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B6F8B17-4E4E-4AC4-903F-1AEA4DFA1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CB056618-53AC-4EAC-8436-94E6C92A3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90D35F58-A2FA-4B2C-9F67-ADAFD7B93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3295ED98-E43B-49DF-94EA-4F5560E7D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7E4B384D-ED27-4865-A99C-D9E85BE1E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D9EF189-FA29-4FA8-97AC-EDCB0D415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E3DF55B-CA00-4BEC-B8A7-B2146CB22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AA7F7E8E-D50B-497C-94B1-95ADE28FF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1C7FC97B-2BA2-4464-9FB5-F96742D76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A190D640-43F9-4ABE-AF49-EC43A0617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F81A201B-825E-41FE-A1D6-ED441FF91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142E7500-6FBD-440A-8B19-CB64D4C04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D22DA77E-670B-4361-BE85-7513B3B20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3190D92F-3659-4F89-8201-28E5C638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8AE2DAFE-8030-4827-88ED-39B523DAC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A53679B7-4F4E-46BD-AAA1-51389E720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F44D3408-67B2-4871-A016-0614A1BEE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A376E66B-A9F5-4D0E-93E5-59A187DC3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E553FB88-1264-4353-85CC-01DFCEC42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68207E9C-49D4-4BE1-ADB0-AF8CAB807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A10632E7-F4A2-4921-96B8-3C27CDAF0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6ACBBFDD-0C5E-4729-B8C9-12E371200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7E772379-8951-4BEC-85FC-EA9F7AE2E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90AF748-67B7-4D3A-AA40-48F1510C6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C56B1BD-5400-46E2-96EA-248AF604E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CB681D1E-E6B0-47EC-95CF-ADC388AA2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985AC094-C9E7-48F4-9A76-E483CF861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B82317C6-88DC-46AE-ABD1-BB620A4C5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668DF23-2C89-4A57-86E5-1CCF444DE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B8D8B4E2-607A-4B87-9FF4-ABF084777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962270F2-C7F8-4985-8EDC-72DD78719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55A37482-E922-4D5B-93D2-62DA695FB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9AE430B7-0AE1-4812-95CC-BFA029C25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D416F4B9-FA98-451E-A25F-AA09B01D6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359B7BF1-B7A3-48D6-B0EA-9F0EF339F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86C9EE82-5848-4C8F-9D82-FB8E84B87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95B08571-5129-48FF-A5CC-1A78623C0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45DFBBB-9978-439F-8D5D-243F926C6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176957D5-5B6C-4C8D-B43C-C180B047D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0D80836D-6F36-4C7C-A5E5-F71798A80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3DA65E31-1A31-4771-BDD5-468A77F85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F4874B5B-129B-4F1C-BFD4-3B6C18AE0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8DC1FD6C-DB75-4ABD-AB84-B65C85234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7CB55A3C-9838-469C-962B-D6752C8D7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63835AAD-8ED9-4903-AEFE-92288BE5B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6C9207A8-476C-4E0C-9A1A-722BB16B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AFB76853-3B96-4760-A780-8FEB22A26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EC9E16D7-D461-4512-9CE9-36A58948F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F29C045F-0FE9-40F1-82A0-81FFB686B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8656EC55-37E9-43D7-940B-3F648E2E3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8A10BA86-091A-43BA-BCEC-4F615ADE9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31C2CD18-0360-45B7-8D19-5C19D843B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3D44EA05-A61B-4F06-9BA8-72DCC8C42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FABD1FC9-613D-4472-9D48-A249838E4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568C2D36-0254-4EB6-9F7C-A6A4620F3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B46A7248-79A4-426F-AADD-A3B7C81FF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DE9923C-51D8-46A5-9B29-D57F6EC7B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1091D7AA-36CE-46F7-9302-6754AC87E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299E14FA-79D7-4FCE-B72B-645C97E8E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07A46605-7509-44BB-85AC-D7A0C3922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A718DCE7-23B1-456C-AB4F-C47A31A28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1B2CBBDB-2FCB-4783-9327-D7F9AF0A1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8B410E7-A73C-4605-AD8D-4B97A23D8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8D541908-1FC1-41C8-99AE-E9BD3AD7D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1F99AE3D-C729-450C-99E1-8C7215014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92DEC0A8-4F71-4568-ABD2-5A4EADEF8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A97F157C-E999-4575-946A-584575B3E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A3D4B54B-93F2-467C-9CC2-4B82616EA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EABE975C-B15E-41EE-9FF1-2DF79663C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062350C3-A897-4A44-8794-4477D781F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591105F7-AC30-4BCC-89B5-EDA1FA403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439195F4-1112-49C9-864B-53F90BF11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DFBA0458-F0A4-4D06-9A4F-651BFB8FB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41049526-2F72-4857-8E01-97E283E8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D1189393-B235-4CB2-8C33-C35BB9D12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5C7A689-1685-4860-BC46-B7CFCA226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C0C296D-A6D9-47C5-9C64-A0D52BBC0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BA34C322-9E27-4324-BA03-CE91CF8CE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DDDA09C2-2D29-4061-848F-038869B59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251F0AE-66A8-46AB-B321-8E61B937F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D5F05775-4005-4177-B7C7-2892784A1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40318D48-0D78-4D22-8F93-D52D27F8B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E9E14037-9F6D-4408-A8B5-7597EEDBE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6DFD41E4-C657-4665-B8FA-DD02D7069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7C632F17-9DCD-4F79-9AE0-ECA8E1172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3A1EBC4A-35A0-4CDF-ADE7-569C5DDD1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DB12F01D-E574-4255-B337-1662AEEB2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B08E1C98-A901-49A7-B23A-C9EC1C5DA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7696C1F1-E61B-4D28-91B1-E59F38BCB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A2BDE2EA-D36C-416D-9398-442B3D647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1E1BC941-58CC-45AC-B804-C1A601441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22CF3B1D-7618-457F-8E01-D21E1A396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8E6B2A39-718E-43E5-8E7E-882A49AF8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CC08F64A-44DB-4B10-8D4E-20D5DC34E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BDA24A6F-BD46-47A6-84A0-A58E4F91C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5473793378699</c:v>
                </c:pt>
                <c:pt idx="1">
                  <c:v>0.23134599885546031</c:v>
                </c:pt>
                <c:pt idx="2">
                  <c:v>0.18282392852590251</c:v>
                </c:pt>
                <c:pt idx="3">
                  <c:v>-0.2460181021092871</c:v>
                </c:pt>
                <c:pt idx="4">
                  <c:v>1.825977826586209E-2</c:v>
                </c:pt>
                <c:pt idx="5">
                  <c:v>7.0110274499276856E-2</c:v>
                </c:pt>
                <c:pt idx="6">
                  <c:v>0.20840312314567949</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7ECAC4"/>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D28E186-05A7-48FC-ACEF-5A80427D9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C3A568E-6433-45D6-BA28-C76888A25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B4A819C4-3B4E-45AD-95B7-F80980391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9B67F49-29FE-4412-B9AF-296027760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2AFBAE9-A06C-4569-A02F-6C50EBEB1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46901D5-65D8-4CC6-8DC2-7B4349F5D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994791D-3165-48E4-A68E-EC0C9B479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B49A65F-08F9-4509-AB58-92231BB54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BED53115-3C63-45FF-9046-836E0AFC7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B55451D1-AB7F-441C-B307-70C985905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EED9530F-F3B8-46C7-8C9B-BE7958C93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022D416D-A8B3-42AB-A17F-05F386CCC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814732DB-FCAE-4A54-B24B-71CB979C6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43B6622-8724-417F-AD9C-ECD9DB510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3E9132A9-CEDB-4F35-90D5-A890EB6E7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C685381F-236D-48F3-BC31-A92ABC15C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3F451A62-425D-480F-976B-DE29E8C45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2A16A169-149D-47AC-BE93-4B6588124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3A85E277-21D9-4F98-9632-B1A6D8B59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EBE71B22-A9D2-4160-A984-D36156394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D0793955-B6C4-4856-B2EC-E17D11EDA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70A2B09-2538-4B44-9C4B-BC8A0033E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D943A2B0-B960-4722-9DD0-1C2977BC8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03BEA99B-DB2E-4AC5-8105-490A4D398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1D2005A0-0661-4E71-8EB4-08AB6B26B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8645BBF4-27B6-4AEE-B435-F7180B3D0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9C690142-5A56-4DFF-A0D8-9111F1A19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7012C8A-EC1F-43A2-88AE-CABC9A974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BEC18437-8E80-427F-8109-B1F6B995F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3F463E98-EA95-4562-91EF-F4C45B2A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C2EC344D-6129-4B64-9282-38123480B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139E79AD-B276-49BB-8148-3326B4A3C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0E469127-FCE4-48DD-8BB5-57DAEFC12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FC4AF01E-571D-4FAD-9C39-447645EB8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3491F0C3-4DF0-406D-A934-69C735B16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05FEFCDF-3556-4146-A296-76B37BE9D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C269ACB8-4179-4FAA-B429-81966877E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8AD90A8F-DADD-4090-B2FE-31492F813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2135829D-BC94-4514-9C6A-C08CB26A7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6EDC4141-06C1-45D7-A49D-5DBF71858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61FAC65-689C-4F36-9487-686EC4196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D6C8288-18B5-428F-BEC2-57B5B25E5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7764D259-8A6C-416C-B04C-3EB1FB223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6ADA965-7FD8-48B0-83E8-91E0CDAB3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C42A410-F401-49D0-81FA-03B0E849B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1DEC5D3-9831-40C6-96B9-B72E70F0A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564B8FDC-23C4-434B-A987-4A0C87CEE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2AEA92C-5DA3-434C-8470-B3E52A057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980B3076-BA9B-4D23-9D1E-AB5A1B99F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08B385C9-97F3-4ABA-B4CB-2F528E728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15BCBC8E-7385-4064-ABAB-73F920E49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25C68486-B66B-4E99-9426-9688F56F2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D485731B-BFCB-4C15-A9CC-75D490C22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8F9AFFC2-32DF-4B10-B48C-C24A3396E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7E2AEE39-16B2-405C-8F76-1F085DED6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AF0BA514-59C5-45F8-B58D-3F41821EE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412CC49-31EE-4872-983A-79FAB59D4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8675CC90-5156-43B4-AA47-6C27288B8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2676B3B-2342-4871-990A-E16C5F6E7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34B1944A-0A3E-4432-A8B1-685B1D3E1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3C839D37-1DC3-465B-AF32-F6236A7E6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C67EFCB1-D80C-4F69-AFCC-1A189543A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91A03A14-4EA0-4B9D-9D1C-1DB1DB646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3EDA4381-3F87-49D2-B4C0-882FD5944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9A9E1BB9-8210-4DBC-B9BA-A58E55A40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4DC8F2F-4B7A-43B3-92CD-B1C3C0359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391CC88C-0DE0-4AFD-A94D-B9B481090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44D1E40-45C7-424B-B46D-64884EB82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D4003E10-2892-4813-86C8-D71F8CD51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1BB2FF54-DBD5-4D17-A204-77430BB5E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F77A9147-FD1F-4AA0-A647-AFD1BCD66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82AF5A74-78F1-4599-886A-26BDEA812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80C77CC6-9F2B-4221-8797-3074C4C9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5FE4FFD-4052-424D-A880-F1C57C813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EC13BC4-AFFB-4232-B9E8-EC626B6DD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3B64A6FC-B46C-4617-B6DE-8A66FAFE2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74CB3B6D-06B5-4F29-8F29-6A740CD5F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32B1601D-615A-4AC1-A905-EE92D78B1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01FDC823-BFB8-48DA-9023-D6699B44B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11D5A059-00E3-4962-AD98-4AEC252D0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6034410E-1C02-442B-A803-00ED7CCEF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9FDB409-97E9-4CF6-93C0-97A1426C4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04565569-FE50-4B27-AE46-8043A4F1A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F158A3F7-A855-491F-93C6-E8AC976C2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CE8277AE-1E09-4D75-8A86-8239CB9D9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F6CB65F-94F9-4BCB-B7AA-2939DA906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3892EEF-EC29-4C72-8F5E-8B5FCE89B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D4947630-52A6-4E2D-BB9D-1B47A5274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A0B87E86-C6A9-460F-A35C-33F870C7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D4BF8ED0-D203-4495-AF92-EEAA2C363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774BB2BA-F831-4E13-9B2C-0F4B243A8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C7A5271F-66C7-48D4-B402-9B0C10349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7520B71C-8681-4DD5-B3DC-3069BD821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80A04C08-8074-4AE1-B698-C3B1FF483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591DB2BB-E8E8-4911-B111-C9D6C58B1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2C3D5140-C7B3-47E6-A525-328DF2446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D5083D6D-FA9F-4669-BACF-3F9116968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523D4A80-934C-4062-A79F-7BFD3DE53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B289D669-3B53-458C-AEE0-86A80EECC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75AAAA91-29A9-4B0F-A685-A4E6182E4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FA6BC52-7863-4096-85C6-E0E0D656C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237CD2AC-12C5-40D9-A923-7BBA0687C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4E4AF1E7-2CB2-46D1-BE38-422221EC8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E0F3819-9D06-437B-BFB2-E20D960C6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D062F52D-EBE2-429F-BF0C-F1C5E80F3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CBC3AAF8-D3BF-4C69-8C79-1BEB83A80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452974FA-9817-466C-8B25-08552DEE0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6BEA1FD5-06F1-4917-A2F3-7127B6291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89BE662C-2BC4-4F25-94F2-7E48408FF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7ADBD1D7-0CB6-41BA-A19C-DB717916C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BD652DE3-A83F-4B00-A52E-A35C20A26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4181046-EB0D-46F9-9315-CF1B7C5FF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EEA9A18-FF9A-4E50-BE8E-43E3EEABC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1C1C9FE0-5FA5-43DD-9CF7-8CB0FE276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04C503E2-02FC-4DBF-9CEF-164EAA971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FCAF472C-EDED-4531-B61B-45FABFBB7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0510853053</c:v>
                </c:pt>
                <c:pt idx="1">
                  <c:v>0.53171493485300692</c:v>
                </c:pt>
                <c:pt idx="2">
                  <c:v>0.29144139506551608</c:v>
                </c:pt>
                <c:pt idx="3">
                  <c:v>0</c:v>
                </c:pt>
                <c:pt idx="4">
                  <c:v>0.47459336693573279</c:v>
                </c:pt>
                <c:pt idx="5">
                  <c:v>4.4656760499171042E-2</c:v>
                </c:pt>
                <c:pt idx="6">
                  <c:v>0</c:v>
                </c:pt>
                <c:pt idx="7">
                  <c:v>0</c:v>
                </c:pt>
              </c:numCache>
            </c:numRef>
          </c:yVal>
          <c:bubbleSize>
            <c:numRef>
              <c:f>Sheet1!$C$2:$C$9</c:f>
              <c:numCache>
                <c:formatCode>General</c:formatCode>
                <c:ptCount val="8"/>
                <c:pt idx="0">
                  <c:v>8411779</c:v>
                </c:pt>
                <c:pt idx="1">
                  <c:v>892564</c:v>
                </c:pt>
                <c:pt idx="2">
                  <c:v>6219905</c:v>
                </c:pt>
                <c:pt idx="3">
                  <c:v>151938</c:v>
                </c:pt>
                <c:pt idx="4">
                  <c:v>1670207</c:v>
                </c:pt>
                <c:pt idx="5">
                  <c:v>899507</c:v>
                </c:pt>
                <c:pt idx="6">
                  <c:v>8373</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Schick</c:v>
                  </c:pt>
                  <c:pt idx="5">
                    <c:v>Dollar Shave Club</c:v>
                  </c:pt>
                  <c:pt idx="6">
                    <c:v>Van Der Hagen</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7ECAC4"/>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825C5D2B-B435-45D6-AD68-9F8578464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EA6F219B-AAE5-45D3-B8DE-35E88FCD0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54BD335E-D8B4-418F-8CE7-3CD553619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2C84D4AB-D548-4BFE-B8F4-AAB4A8C74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09B06773-36F6-4924-B50B-3981A5AED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500AB1E8-54D7-4584-8D7C-A439AB6C7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0735F0A-1F39-456D-82BC-D0969CAD1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0B1AFDE-ED11-4498-89BA-81C406BB3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4202C134-F1AE-46D3-8A14-028978F45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D0DDE530-267B-43BE-BBB7-3540B50D7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EFE26596-5D86-48A5-BAAC-6F39D5364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A41379F9-C6C8-48B4-B295-DE57F0020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74847F66-A4E2-477F-A5A6-74D9DD4CA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E8495BA-05BA-4854-B314-FCBE8086B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CE262741-45BF-41E9-ABDB-BA7563944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824F50DB-7B90-4AEC-8E88-6646DB9FA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F2AA9747-8FB3-469A-AD98-7FE0B6DDB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93B710A-AEAD-4A7E-97AE-4ED5E213B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C8A11338-EBCC-4F36-A1B9-C6F227703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67354D83-E23B-4DB4-88D7-6E59035A0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2C4588F-9183-43EE-99B3-3A7A12D74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93DF472E-0022-4C84-BCF8-550185D4F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B0BA766-AE31-4C61-8371-4FFC70EC9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0DFA7BB2-EEFC-40AA-BA03-BE450124C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7DA1F7BC-4FEF-4394-A16A-7B4CAC3CC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4E798B09-0AE5-40C3-8920-9E27BF346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A2B682AF-BDF3-490A-8D4E-00CF5C8F5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7E82A362-6326-4252-A557-BA60F75AC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FE66E2C8-CEEF-45CF-B308-C01E45E81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BBA71A7E-58D0-4B54-B6CF-BA1C2CCDD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E170F28-3415-469E-A4FE-3E8DB1711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A5E05D9E-A24B-468F-8B71-A6E6D8C94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F919549-1FEF-4CA4-A193-C00D11525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954640AB-D578-4FDB-9100-1F9928419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DE199BD2-EE9E-4696-9C4E-A164A76E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E5628243-D119-495C-AA31-883D23AAD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49B29E20-C92D-45F0-9A93-8115ABF03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EE88AE69-E4F4-4868-ACEB-E3D522282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ACDB5284-C405-4D67-BCBD-93403EDE3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7CC6320A-6E18-442C-9933-B66076207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89818D45-4566-4DBF-8E26-D04F1A43E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57407AA9-274C-4625-B1B2-04CE55CD2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32E05F6F-947C-4B0E-8C17-F58098A57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35A45B86-3185-4905-8441-5478BEE9F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653B565A-75DF-4538-AC06-AEA62555B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653CD0AC-A37F-4113-B1FE-AF84676F3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D31AAF24-B82A-4489-A8F1-15E0E56B6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D84A8242-226F-4861-B595-384D4101F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F35A2A3F-B450-45D4-B1E5-73BC75E66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B2D9FD3B-B4E1-4711-80C1-11534EB0F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C9C9701C-C4E9-4CA6-ACE4-EC5DBD6C2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C4CFE2BC-5323-40CC-8597-87CF42778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614B6A75-67F7-41CE-A18E-78ACCF1B0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C2A49FB0-F6C7-46AE-8FA8-7896765F1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5677B8C9-69F0-442C-BDA9-25CA16DFF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1807E374-66F5-4E79-BC9B-79D0D53EE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30AD661E-269E-4BA4-A05A-B1D6443A3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6A357213-ECC1-4BFC-AF72-9EB67E818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BDC9615-B457-44C3-B78B-00551F774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E1352AB9-6E33-410D-AD3B-0DC1101EC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004F4A0-13C4-455A-A288-E2B8ECBE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6B77D71-F17D-46E0-A36E-203B1ECBB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7CE74748-1FF0-4223-857F-983DED5E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EFC84216-22BC-4B65-99BC-57129EF8A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AEE09E6D-1856-421C-ACFE-ADF8E9635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D3E28CB-53F2-4672-9CB4-633A23F9E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6C99619F-D7CA-4160-9431-A46C0D9C2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51B5198A-E611-4C59-8AD7-877BAE217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73F276FC-676B-44D8-B0CA-48E4C2132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20CED18-644B-43FB-917B-91EF9B757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6E13D55C-C7BB-47AF-B30E-6356EE747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55A6020-6502-4129-B444-434C7D033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02A4B60D-BBD6-4806-89DD-4833F8545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686C6935-7EC6-4DCB-863F-BD90073DF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5E87F283-8E13-4945-878F-8E3510EA9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3F2B183E-B861-43C1-97D8-21B4A91C7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E793C0E5-EEAF-44C7-B7C3-44316928F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5C76831B-6259-41A5-B141-033C6B840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18A3EABE-8D36-4762-90AA-A4D07D065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5775CE52-E6AD-4874-8469-E160A047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9DA9936B-4569-4D5E-866A-033D10DC7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DF3B84D-2330-4F99-B4DE-7A0DE8D7E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7E48B54-F7FF-4F2B-B4EB-A79FB0AEA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82E242A-2D8B-47C5-8753-34F1AE9FD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C23A4CF0-B748-4E54-AC6C-7AF91232F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BEC7BC9F-4DF9-4773-9D9E-15B3030E8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9DBF754A-98A7-4A77-9984-1AE2E1232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6E5BE521-F3F4-4594-86E3-C4607A654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CF57A668-0137-4E43-9747-35D17FBB8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840C8A13-6556-46C5-9F34-F62B4EB38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4F040836-BE79-45CF-AA54-A97E24971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F337F76A-7FAC-41F6-B55E-58FB96A93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2F57C286-B3CB-4065-9C3C-BE851C363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82C01C7C-A3AE-4E6C-87E5-6939C2531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9CBEF1C9-CA84-4994-95C7-B5F6BAEB3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AB6BB35D-93D5-46D4-B6C8-274C5F180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69471406-CBC1-4D00-BEC9-2B37BB6AD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B75BAF53-AEB7-44EE-BC17-02AD573FD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AF113F5B-9DB4-44F1-BE2C-1B6569B5B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F61FF815-BB69-4655-B2BC-D010F697A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29ABBFEE-CDB1-4ED3-8DAE-0960A83A3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C6FF8B42-E74F-4439-B730-884DBCEE0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8F08DEDE-479D-46E9-8024-8179200BD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95F40979-CAD2-44FD-AE89-76991CADA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BF5F9CD2-567D-4270-97F0-26C32A929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96855F98-4E6A-4A4D-A6EE-C655856B4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5499D23F-1458-4E25-82DC-AFDAC6462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D43DC831-B93C-4FCF-B109-8D098884C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ECBA2E64-2F43-4C7A-A6E3-F34663965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D0534E8C-C3BC-4652-BAFB-41B4FD42F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E0985CDB-9E6E-4BC0-852C-D1A7553AE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23E1C901-6B68-4026-B549-561041A10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D9C10087-0912-4962-A5C2-499CE6F71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02B1A9AC-E311-4BBD-AE1E-5C8868567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315B618D-3DF7-43C4-9F2A-A2B0E186D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53B43A60-5BE4-4DD1-AA72-DCCA484BC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98E-2</c:v>
                </c:pt>
                <c:pt idx="2">
                  <c:v>0</c:v>
                </c:pt>
                <c:pt idx="3">
                  <c:v>-4.1643562323654133E-2</c:v>
                </c:pt>
                <c:pt idx="4">
                  <c:v>-6.4570073600096284E-2</c:v>
                </c:pt>
                <c:pt idx="5">
                  <c:v>-9.5586858697451857E-2</c:v>
                </c:pt>
                <c:pt idx="6">
                  <c:v>0</c:v>
                </c:pt>
              </c:numCache>
            </c:numRef>
          </c:yVal>
          <c:bubbleSize>
            <c:numRef>
              <c:f>Sheet1!$C$2:$C$8</c:f>
              <c:numCache>
                <c:formatCode>General</c:formatCode>
                <c:ptCount val="7"/>
                <c:pt idx="0">
                  <c:v>38005340</c:v>
                </c:pt>
                <c:pt idx="1">
                  <c:v>4081396</c:v>
                </c:pt>
                <c:pt idx="2">
                  <c:v>271146</c:v>
                </c:pt>
                <c:pt idx="3">
                  <c:v>2362412</c:v>
                </c:pt>
                <c:pt idx="4">
                  <c:v>1029606</c:v>
                </c:pt>
                <c:pt idx="5">
                  <c:v>279376</c:v>
                </c:pt>
                <c:pt idx="6">
                  <c:v>1171</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Schick</c:v>
                  </c:pt>
                  <c:pt idx="4">
                    <c:v>Dollar Shave Club</c:v>
                  </c:pt>
                  <c:pt idx="5">
                    <c:v>Equate</c:v>
                  </c:pt>
                  <c:pt idx="6">
                    <c:v>Van Der Hagen</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0</c:v>
                </c:pt>
                <c:pt idx="1">
                  <c:v>-0.42900000000000005</c:v>
                </c:pt>
                <c:pt idx="2">
                  <c:v>0.125</c:v>
                </c:pt>
                <c:pt idx="3">
                  <c:v>0.55600000000000005</c:v>
                </c:pt>
                <c:pt idx="4">
                  <c:v>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8AEE608-B20A-45C3-AD3F-EA8517A3F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1CDCC5ED-02B7-4BA1-99DD-819A2115A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F49F64C-3EB1-45CA-9D18-0AE986C7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975344B4-E529-4786-9A54-6924DA933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32F7234-2234-4074-8D0B-61AD89785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8554266-AEAB-4CF4-B8CA-7803898D2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EAA509FF-2A68-48FE-B6BB-70D249569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533ADCF-7502-44C1-BBA4-7263A0EA7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11C5A8E4-4E27-4F82-A8F0-B82E39B07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A8AB66C8-EDBD-496F-ACF7-A1E41ADAB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876437A7-2F1D-4628-BAA3-84A11AE1F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267FE72A-4DEC-49C9-B762-4D1727F22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7D1BE95D-8272-42B2-AB28-77D1F240D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5D0C594A-D5A7-4DC9-B00B-FCAA931DB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3006ADAB-6C68-4687-9941-EB112855A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ED9CFE59-C5AB-4C7D-9CF2-9E9A3EDE3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06B012D5-62DF-436E-882E-284FD28AE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91BEB00E-320E-4114-AC72-0075B3FBF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AA0FA454-BB93-4C19-8C25-9E3111415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70B36511-DE7B-4633-9EE8-A6180FEBD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EA9B52AC-9648-4C0D-B775-F2BA89294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AF6A87C-5FA3-4861-B1B3-2748B8B88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E6DD2342-7F36-41A8-9F3F-D7CDEDEE4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80AAB9C2-B2E8-4850-8F65-AEF972D57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B1A575D5-1150-4A65-A95B-DAE8640FD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6CB71D53-15CE-4F5D-87C8-9586A1F4F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4EFA4C61-1DE2-40DC-BCB1-E1A2D9F9A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DB56819C-9AB0-4540-AF7B-71AB81CF3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380521A0-5E82-467A-AAC0-4D25E1439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23C108D9-6595-4DF6-95C8-88928690D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63CD01B9-51D3-4453-B0C5-99E08F0E8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F62800AE-42E0-4DAF-B4EC-9CD6E9E14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8D8953C2-D47E-4C44-A804-C6DA6F747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FE7FCABB-36C1-4CE9-87B8-2992C1E61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826E05C2-48EB-4E9D-A59A-9015B9C04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CF96190E-5EA0-46A5-82E7-8FA35B7CA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A28ACEBB-688C-415A-96EC-60E78C4F8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21EC6586-D080-4767-A40B-0C1445E21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12C3FA03-6F31-4012-9791-111F0945E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E5B037A7-8EDA-4F0B-9406-23A815D74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7FF7E441-54B8-470A-B1E1-E7A313E0B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317F01AC-2EFC-4550-AD4E-43AE74749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F9443038-6CDA-4F73-B55F-BA0E9911F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592BA12-FA69-4211-BAE1-632D04854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933613B2-DA96-441E-AEB6-7B1C4A6CB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D02213E7-4200-4435-86AD-F926FDDDF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FDD1CF41-5C7A-4127-8011-C6EDBD786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1B66E93-B4AB-4BEC-82BE-D431ADD24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3C1429CF-BDE4-4CD4-8C0D-95C9C760C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96FB75C6-6099-4338-AF3F-EB2EC109F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F801A06-2530-4F7B-A62E-B07D68CCB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ECAA0867-9342-4E20-BDEA-54A0F0001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14CC0895-64D0-4CDE-95C7-11FD5C4AD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65ED9713-F718-4BD3-B368-872E31372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A8026677-0C1E-46DF-9049-BF7969C2B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5F765B6F-2FB3-4E30-90DF-B4F62B983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27D20B01-110E-486C-BA9B-14E9FF9CE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5CC758E8-8C70-4A29-9236-CED5E8FDD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600E8F62-EC8D-4023-8945-CBABE04BD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5833C465-1201-4B11-B703-911B4B065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E50235A0-B148-46FE-95D0-11F52FBA2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C1198BDE-6D8C-48B9-ABB5-FA30150B1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935D6575-C336-453E-BAB5-679D4E8AE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665131C-32DE-4EDF-9136-1040A4D92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45312180-4799-41C6-9452-795D28BEC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C590BEDE-428B-49D7-860F-DF2BB14D5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2E3B3503-3CAA-4FFF-A652-F24F2DF15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C9BD43DF-CEA8-47F6-832F-1B90C0948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D9DBB8EB-2320-4D16-B21D-14811E04D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28A71387-C643-45D4-A9D2-2540837C3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C9D06FFD-34A8-4A85-83EF-EB60B901C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07094ED-27F8-40A6-BB40-2278189E1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E29F697A-A68F-4413-A20E-F5971C413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2F33B76F-935A-482E-92DA-577BB5033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B8D5BE90-D782-4A92-871D-F57DD30B5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5F5F2E29-BC6C-44B0-9BC5-22B96DC16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48C1EF9B-323B-4E13-94E5-9FEE206C1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4B6519B9-EB26-4FE1-B593-29C6A6683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78A3A27A-64A7-4FAB-AD48-D658C99ED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0DCB3CD-A12A-4E3C-A08F-A2844CACA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FD096722-6FAA-4E49-9370-88112113B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E5A3E671-7EDF-4C2A-9A0F-AE3E50683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CD0BA74-A67A-4437-862D-DFAB05BBC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759C55E6-4A77-43D5-9942-09CCB8383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2E075DA3-519C-4E82-A27D-7EC3105F4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BDE305F3-A695-4609-900B-282ABDFAB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1BE28261-BF21-468B-87B5-3B415596C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E8470857-94CF-49A1-A456-287305E3A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1E8FE9D8-066B-48C1-B801-1D8B171BD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0A2B892-35E9-42D3-AD1D-080D23052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E6C5AA05-0C40-423A-8168-B6BA74395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98F4F2FD-7F9A-400C-8E64-07A699BF0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6609F376-526D-4066-AB39-D4B0A3191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39B2B84A-CC18-4E6E-ABAB-EC643B6A3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6E69C1B0-6392-4E4F-AA6F-197C57566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18070FBB-251E-46FA-943E-F47D39CA4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859532CB-F1F8-4E57-A96F-E977FF86D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3A6C86E-5C76-4F5A-93EC-43F6455E0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288C203B-02AB-4C8F-A03D-ED0AD50EE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3FE1C07-FAEB-44C0-AA4D-1A00D3143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7284AF5-F1A0-4725-B31B-84DD86B01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BA024DA9-53AD-4032-A0A4-2187FF05A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7E1F53CA-243C-49BE-B15C-6ADE7E78A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492DB0B-4A16-4667-9276-47C748BFD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917D2400-8788-4239-A7FC-ECA1D6457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51E329F7-A4F7-4796-9FFB-C38CE18D6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DE1EB360-C0F9-404B-B594-BD211D910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B2F851A4-3CFB-4C52-9238-B1D3127D2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B47A4791-31C8-42A1-BFE5-764B86381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E8DDCDF1-04BD-44E0-B9E5-EEDD38AF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C795DE2D-2AAA-47DA-AF4F-BF5D7DC50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4DB5C9A8-E0F7-4017-8268-144DE02F8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3CDD9290-7131-4147-BD78-E215F57CE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999A641E-C8D3-428A-9758-D83CF8EC5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3F73C12A-E931-4EC7-88F5-806BE704C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FC7FE777-37D5-46D7-AD29-0C8DB6A3B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209705609001</c:v>
                </c:pt>
                <c:pt idx="1">
                  <c:v>6.1067958905770298E-2</c:v>
                </c:pt>
                <c:pt idx="2">
                  <c:v>0</c:v>
                </c:pt>
                <c:pt idx="3">
                  <c:v>-6.4570073600096284E-2</c:v>
                </c:pt>
                <c:pt idx="4">
                  <c:v>0</c:v>
                </c:pt>
                <c:pt idx="5">
                  <c:v>-4.1643562323654133E-2</c:v>
                </c:pt>
                <c:pt idx="6">
                  <c:v>-9.5586858697451857E-2</c:v>
                </c:pt>
              </c:numCache>
            </c:numRef>
          </c:yVal>
          <c:bubbleSize>
            <c:numRef>
              <c:f>Sheet1!$C$2:$C$8</c:f>
              <c:numCache>
                <c:formatCode>General</c:formatCode>
                <c:ptCount val="7"/>
                <c:pt idx="0">
                  <c:v>38005340</c:v>
                </c:pt>
                <c:pt idx="1">
                  <c:v>4081396</c:v>
                </c:pt>
                <c:pt idx="2">
                  <c:v>271146</c:v>
                </c:pt>
                <c:pt idx="3">
                  <c:v>1029606</c:v>
                </c:pt>
                <c:pt idx="4">
                  <c:v>1171</c:v>
                </c:pt>
                <c:pt idx="5">
                  <c:v>2362412</c:v>
                </c:pt>
                <c:pt idx="6">
                  <c:v>279376</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Dollar Shave Club</c:v>
                  </c:pt>
                  <c:pt idx="4">
                    <c:v>Van Der Hagen</c:v>
                  </c:pt>
                  <c:pt idx="5">
                    <c:v>Schick</c:v>
                  </c:pt>
                  <c:pt idx="6">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0.63660508691021123</c:v>
                </c:pt>
                <c:pt idx="1">
                  <c:v>0.76728058932798959</c:v>
                </c:pt>
                <c:pt idx="2">
                  <c:v>0.21534982182334902</c:v>
                </c:pt>
                <c:pt idx="3">
                  <c:v>0.4800599895758938</c:v>
                </c:pt>
                <c:pt idx="4">
                  <c:v>0.4936541585792204</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0">
                  <c:v>0.36339491308978877</c:v>
                </c:pt>
                <c:pt idx="1">
                  <c:v>0.23271941067201041</c:v>
                </c:pt>
                <c:pt idx="2">
                  <c:v>0.78465017817665095</c:v>
                </c:pt>
                <c:pt idx="3">
                  <c:v>0.5199400104241062</c:v>
                </c:pt>
                <c:pt idx="4">
                  <c:v>0.50634584142077954</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B$2:$B$7</c:f>
              <c:numCache>
                <c:formatCode>General</c:formatCode>
                <c:ptCount val="6"/>
                <c:pt idx="0">
                  <c:v>0.42881235493349873</c:v>
                </c:pt>
                <c:pt idx="1">
                  <c:v>0.76754734284444692</c:v>
                </c:pt>
                <c:pt idx="2">
                  <c:v>4.1633451649207863E-2</c:v>
                </c:pt>
                <c:pt idx="3">
                  <c:v>0.41235092560402192</c:v>
                </c:pt>
                <c:pt idx="4">
                  <c:v>0.89192701516189044</c:v>
                </c:pt>
                <c:pt idx="5">
                  <c:v>0.229573986416958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Bic</c:v>
                </c:pt>
                <c:pt idx="3">
                  <c:v>Schick</c:v>
                </c:pt>
                <c:pt idx="4">
                  <c:v>Dollar Shave Club</c:v>
                </c:pt>
                <c:pt idx="5">
                  <c:v>Equate</c:v>
                </c:pt>
              </c:strCache>
            </c:strRef>
          </c:cat>
          <c:val>
            <c:numRef>
              <c:f>Sheet1!$C$2:$C$7</c:f>
              <c:numCache>
                <c:formatCode>General</c:formatCode>
                <c:ptCount val="6"/>
                <c:pt idx="0">
                  <c:v>0.57118764506650122</c:v>
                </c:pt>
                <c:pt idx="1">
                  <c:v>0.23245265715555308</c:v>
                </c:pt>
                <c:pt idx="2">
                  <c:v>0.95836654835079216</c:v>
                </c:pt>
                <c:pt idx="3">
                  <c:v>0.58764907439597813</c:v>
                </c:pt>
                <c:pt idx="4">
                  <c:v>0.10807298483810956</c:v>
                </c:pt>
                <c:pt idx="5">
                  <c:v>0.7704260135830417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fld id="{C1D6101D-A574-483E-8C75-07FD6C8AAA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D21EB8AC-CB21-467A-B6AA-51E1726D9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5F8FA28-D736-46A3-9B4A-14E6B81EDC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26CB9116-DCB7-4BF8-9F45-A6EB657615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3A098328-5C9A-43CD-80B1-CBBE8BA3FB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B78DF1D4-59CD-4DD0-8ABA-EADC2C75CA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84139D53-C54C-4A34-A492-988C2363EA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6EC5668E-B9E9-4798-9A3E-E6A770464E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2B2D92DB-5ABE-45D2-B6AF-0F95518C40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E23EBA4C-BD00-42D6-B596-DC4E2723E4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4A4D7440-B924-451C-B332-4537FD48F3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895E5D08-406F-47C0-8D8C-C22A1EF0C6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6CD04EEB-AA98-4415-ACFA-9747ECF22F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FE539210-EDD5-41F2-85AD-3488104E2D2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46E54025-CF35-4410-ADD5-45A9B3EC3B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3457B25D-D33B-449B-ABEF-E44E0A183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08A7B6EF-29D8-4930-AE35-A596B3CF94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771B8F39-FEFA-4005-B8B3-16D7FD7774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06054791-08BF-4550-88BA-316465569E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196D17AC-E630-4D5F-AA76-B2312F7316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B8D5D322-64D7-4E6F-993A-C74CC85D18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B4558A64-C5B0-45B8-90D3-D0F27C1733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9AAA25C2-FE60-4898-A069-B13752C9F4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42D3AF22-ECDB-4482-B4E3-49FB665797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5F9AE7FF-36CC-46B0-8552-A7D0B9F6BA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173DCE3D-B03E-4F5D-8B85-0594D7E26B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53720EE7-4824-4254-B514-B61ACF7AF2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BFB7BAA8-7304-4B4D-A328-005471AB89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A20FEA83-9F22-4A91-8026-C31BB090B4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A156DF09-E9C1-4A0B-ACED-98026D1EC6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17338282-F420-4FFE-9A64-B721381F00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1</c:v>
                </c:pt>
                <c:pt idx="1">
                  <c:v>0.1</c:v>
                </c:pt>
                <c:pt idx="2">
                  <c:v>0.09</c:v>
                </c:pt>
                <c:pt idx="3">
                  <c:v>0.18</c:v>
                </c:pt>
                <c:pt idx="4">
                  <c:v>0.09</c:v>
                </c:pt>
                <c:pt idx="5">
                  <c:v>0.15</c:v>
                </c:pt>
                <c:pt idx="6">
                  <c:v>0.16</c:v>
                </c:pt>
                <c:pt idx="7">
                  <c:v>0.11</c:v>
                </c:pt>
                <c:pt idx="8">
                  <c:v>0.15</c:v>
                </c:pt>
                <c:pt idx="9">
                  <c:v>0.14000000000000001</c:v>
                </c:pt>
                <c:pt idx="10">
                  <c:v>0.14000000000000001</c:v>
                </c:pt>
                <c:pt idx="11">
                  <c:v>0.63</c:v>
                </c:pt>
                <c:pt idx="12">
                  <c:v>0.32</c:v>
                </c:pt>
                <c:pt idx="13">
                  <c:v>0.18</c:v>
                </c:pt>
                <c:pt idx="14">
                  <c:v>0.19</c:v>
                </c:pt>
                <c:pt idx="15">
                  <c:v>0.09</c:v>
                </c:pt>
                <c:pt idx="16">
                  <c:v>0.17</c:v>
                </c:pt>
              </c:numCache>
            </c:numRef>
          </c:xVal>
          <c:yVal>
            <c:numRef>
              <c:f>Sheet1!$B$2:$B$18</c:f>
              <c:numCache>
                <c:formatCode>General</c:formatCode>
                <c:ptCount val="17"/>
                <c:pt idx="0">
                  <c:v>0.41971844948119458</c:v>
                </c:pt>
                <c:pt idx="1">
                  <c:v>0.32321333425762577</c:v>
                </c:pt>
                <c:pt idx="2">
                  <c:v>0.36276214714860788</c:v>
                </c:pt>
                <c:pt idx="3">
                  <c:v>0.57638357247666683</c:v>
                </c:pt>
                <c:pt idx="4">
                  <c:v>0.23920180796808771</c:v>
                </c:pt>
                <c:pt idx="5">
                  <c:v>0.49380320527335569</c:v>
                </c:pt>
                <c:pt idx="6">
                  <c:v>0.57084878338506662</c:v>
                </c:pt>
                <c:pt idx="7">
                  <c:v>0.64004334794386986</c:v>
                </c:pt>
                <c:pt idx="8">
                  <c:v>0.81179470441236323</c:v>
                </c:pt>
                <c:pt idx="9">
                  <c:v>4.4079737091422273E-2</c:v>
                </c:pt>
                <c:pt idx="10">
                  <c:v>0.4457406191728599</c:v>
                </c:pt>
                <c:pt idx="11">
                  <c:v>0.83772084414568115</c:v>
                </c:pt>
                <c:pt idx="12">
                  <c:v>0.883084064382609</c:v>
                </c:pt>
                <c:pt idx="13">
                  <c:v>1.5836045021710721</c:v>
                </c:pt>
                <c:pt idx="14">
                  <c:v>0.6815896641199366</c:v>
                </c:pt>
                <c:pt idx="15">
                  <c:v>7.4577739281074057E-2</c:v>
                </c:pt>
                <c:pt idx="16">
                  <c:v>0.27030795344325897</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ENSOR 2 PLUS PIVOT 2 BLADE DISPOSABLE NORMAL 52CT</c:v>
                  </c:pt>
                  <c:pt idx="3">
                    <c:v>SCHICK XTREME 3 SENSITIVE BLACK GREEN 3 BLADE DISPOSABLE SENSITIVE 20CT</c:v>
                  </c:pt>
                  <c:pt idx="4">
                    <c:v>GILLETTE FUSION 5 PROGLIDE 5 BLADE RAZOR NORMAL 13CT</c:v>
                  </c:pt>
                  <c:pt idx="5">
                    <c:v>GILLETTE SKINGUARD POWER 2 BLADE REFILL SENSITIVE 13CT</c:v>
                  </c:pt>
                  <c:pt idx="6">
                    <c:v>GILLETTE FUSION 5 5 BLADE RAZOR NORMAL 9CT</c:v>
                  </c:pt>
                  <c:pt idx="7">
                    <c:v>GILLETTE SENSOR 3 SENSITIVE BLUE GREEN 3 BLADE DISPOSABLE SENSITIVE 24CT</c:v>
                  </c:pt>
                  <c:pt idx="8">
                    <c:v>HARRY'S ORANGE 5 BLADE RAZOR NORMAL 11CT</c:v>
                  </c:pt>
                  <c:pt idx="9">
                    <c:v>SCHICK XTREME 3 SENSITIVE BLACK 3 BLADE DISPOSABLE SENSITIVE 20CT</c:v>
                  </c:pt>
                  <c:pt idx="10">
                    <c:v>BIC FLEX 5 BLACK WHITE 5 BLADE DISPOSABLE NORMAL 9CT</c:v>
                  </c:pt>
                  <c:pt idx="11">
                    <c:v>GILLETTE INTIMATE BLACK 5 BLADE RAZOR 9CT</c:v>
                  </c:pt>
                  <c:pt idx="12">
                    <c:v>GILLETTE FUSION 5 PROGLIDE 5 BLADE REFILL NORMAL 15CT</c:v>
                  </c:pt>
                  <c:pt idx="13">
                    <c:v>GILLETTE LABS 5 BLADE RAZOR NORMAL 6CT</c:v>
                  </c:pt>
                  <c:pt idx="14">
                    <c:v>BIC 3 SENSITIVE BLUE GRAY 3 BLADE DISPOSABLE SENSITIVE 21CT</c:v>
                  </c:pt>
                  <c:pt idx="15">
                    <c:v>GILLETTE FUSION 5 PROGLIDE 5 BLADE REFILL NORMAL 13CT</c:v>
                  </c:pt>
                  <c:pt idx="1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B$2:$B$5</c:f>
              <c:numCache>
                <c:formatCode>General</c:formatCode>
                <c:ptCount val="4"/>
                <c:pt idx="0">
                  <c:v>0.7142081559974458</c:v>
                </c:pt>
                <c:pt idx="1">
                  <c:v>0.91863050166626214</c:v>
                </c:pt>
                <c:pt idx="2">
                  <c:v>0.1348771711615597</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Equate</c:v>
                </c:pt>
                <c:pt idx="2">
                  <c:v>Schick</c:v>
                </c:pt>
                <c:pt idx="3">
                  <c:v>Bic</c:v>
                </c:pt>
              </c:strCache>
            </c:strRef>
          </c:cat>
          <c:val>
            <c:numRef>
              <c:f>Sheet1!$C$2:$C$5</c:f>
              <c:numCache>
                <c:formatCode>General</c:formatCode>
                <c:ptCount val="4"/>
                <c:pt idx="0">
                  <c:v>0.2857918440025542</c:v>
                </c:pt>
                <c:pt idx="1">
                  <c:v>8.1369498333737855E-2</c:v>
                </c:pt>
                <c:pt idx="2">
                  <c:v>0.86512282883844027</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B$2:$B$5</c:f>
              <c:numCache>
                <c:formatCode>General</c:formatCode>
                <c:ptCount val="4"/>
                <c:pt idx="0">
                  <c:v>0.42474603711793024</c:v>
                </c:pt>
                <c:pt idx="1">
                  <c:v>0.61019626426568729</c:v>
                </c:pt>
                <c:pt idx="2">
                  <c:v>0.999862146709253</c:v>
                </c:pt>
                <c:pt idx="3">
                  <c:v>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Harry's</c:v>
                </c:pt>
                <c:pt idx="2">
                  <c:v>Dollar Shave Club</c:v>
                </c:pt>
                <c:pt idx="3">
                  <c:v>Equate</c:v>
                </c:pt>
              </c:strCache>
            </c:strRef>
          </c:cat>
          <c:val>
            <c:numRef>
              <c:f>Sheet1!$C$2:$C$5</c:f>
              <c:numCache>
                <c:formatCode>General</c:formatCode>
                <c:ptCount val="4"/>
                <c:pt idx="0">
                  <c:v>0.57525396288206976</c:v>
                </c:pt>
                <c:pt idx="1">
                  <c:v>0.38980373573431271</c:v>
                </c:pt>
                <c:pt idx="2">
                  <c:v>1.3785329074700314E-4</c:v>
                </c:pt>
                <c:pt idx="3">
                  <c:v>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B$2:$B$6</c:f>
              <c:numCache>
                <c:formatCode>General</c:formatCode>
                <c:ptCount val="5"/>
                <c:pt idx="0">
                  <c:v>2.6621773530429296E-2</c:v>
                </c:pt>
                <c:pt idx="1">
                  <c:v>0.64038562250595621</c:v>
                </c:pt>
                <c:pt idx="2">
                  <c:v>0.60644332995260775</c:v>
                </c:pt>
                <c:pt idx="3">
                  <c:v>0.79763035568945795</c:v>
                </c:pt>
                <c:pt idx="4">
                  <c:v>0.2715122272492984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illette</c:v>
                </c:pt>
                <c:pt idx="1">
                  <c:v>Harry's</c:v>
                </c:pt>
                <c:pt idx="2">
                  <c:v>Schick</c:v>
                </c:pt>
                <c:pt idx="3">
                  <c:v>Dollar Shave Club</c:v>
                </c:pt>
                <c:pt idx="4">
                  <c:v>Equate</c:v>
                </c:pt>
              </c:strCache>
            </c:strRef>
          </c:cat>
          <c:val>
            <c:numRef>
              <c:f>Sheet1!$C$2:$C$6</c:f>
              <c:numCache>
                <c:formatCode>General</c:formatCode>
                <c:ptCount val="5"/>
                <c:pt idx="0">
                  <c:v>0.97337822646957073</c:v>
                </c:pt>
                <c:pt idx="1">
                  <c:v>0.35961437749404379</c:v>
                </c:pt>
                <c:pt idx="2">
                  <c:v>0.39355667004739225</c:v>
                </c:pt>
                <c:pt idx="3">
                  <c:v>0.20236964431054205</c:v>
                </c:pt>
                <c:pt idx="4">
                  <c:v>0.7284877727507015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HARRY'S SURF BLUE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639-449C-96E6-64AD3E49E7A9}"/>
                </c:ext>
              </c:extLst>
            </c:dLbl>
            <c:dLbl>
              <c:idx val="51"/>
              <c:tx>
                <c:rich>
                  <a:bodyPr/>
                  <a:lstStyle/>
                  <a:p>
                    <a:r>
                      <a:t>EQUATE TB (TWIN BLADE) BLUE 2 BLADE DISPOSABLE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639-449C-96E6-64AD3E49E7A9}"/>
                </c:ext>
              </c:extLst>
            </c:dLbl>
            <c:dLbl>
              <c:idx val="52"/>
              <c:tx>
                <c:rich>
                  <a:bodyPr/>
                  <a:lstStyle/>
                  <a:p>
                    <a:r>
                      <a:t>BIC SENSITIVE 2 2 BLADE DISPOSABLE NORMAL 10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639-449C-96E6-64AD3E49E7A9}"/>
                </c:ext>
              </c:extLst>
            </c:dLbl>
            <c:dLbl>
              <c:idx val="53"/>
              <c:tx>
                <c:rich>
                  <a:bodyPr/>
                  <a:lstStyle/>
                  <a:p>
                    <a:r>
                      <a:t>BIC FLEX 5 5 BLADE DISPOSABLE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639-449C-96E6-64AD3E49E7A9}"/>
                </c:ext>
              </c:extLst>
            </c:dLbl>
            <c:dLbl>
              <c:idx val="54"/>
              <c:tx>
                <c:rich>
                  <a:bodyPr/>
                  <a:lstStyle/>
                  <a:p>
                    <a:r>
                      <a:t>EQUATE EASY FIT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639-449C-96E6-64AD3E49E7A9}"/>
                </c:ext>
              </c:extLst>
            </c:dLbl>
            <c:dLbl>
              <c:idx val="55"/>
              <c:tx>
                <c:rich>
                  <a:bodyPr/>
                  <a:lstStyle/>
                  <a:p>
                    <a:r>
                      <a:t>EQUATE EASY FIT 5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639-449C-96E6-64AD3E49E7A9}"/>
                </c:ext>
              </c:extLst>
            </c:dLbl>
            <c:dLbl>
              <c:idx val="56"/>
              <c:tx>
                <c:rich>
                  <a:bodyPr/>
                  <a:lstStyle/>
                  <a:p>
                    <a:r>
                      <a:t>HARRY'S SILVER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639-449C-96E6-64AD3E49E7A9}"/>
                </c:ext>
              </c:extLst>
            </c:dLbl>
            <c:dLbl>
              <c:idx val="57"/>
              <c:tx>
                <c:rich>
                  <a:bodyPr/>
                  <a:lstStyle/>
                  <a:p>
                    <a:r>
                      <a:t>GILLETTE FUSION 5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639-449C-96E6-64AD3E49E7A9}"/>
                </c:ext>
              </c:extLst>
            </c:dLbl>
            <c:dLbl>
              <c:idx val="58"/>
              <c:tx>
                <c:rich>
                  <a:bodyPr/>
                  <a:lstStyle/>
                  <a:p>
                    <a:r>
                      <a:t>GILLETTE MACH 3 MULTI COLOR 3 BLADE DISPOSABLE SENSITIVE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639-449C-96E6-64AD3E49E7A9}"/>
                </c:ext>
              </c:extLst>
            </c:dLbl>
            <c:dLbl>
              <c:idx val="59"/>
              <c:tx>
                <c:rich>
                  <a:bodyPr/>
                  <a:lstStyle/>
                  <a:p>
                    <a:r>
                      <a:t>GILLETTE INTIMATE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639-449C-96E6-64AD3E49E7A9}"/>
                </c:ext>
              </c:extLst>
            </c:dLbl>
            <c:dLbl>
              <c:idx val="60"/>
              <c:tx>
                <c:rich>
                  <a:bodyPr/>
                  <a:lstStyle/>
                  <a:p>
                    <a:r>
                      <a:t>BIC COMFORT 3 MULTI COLOR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639-449C-96E6-64AD3E49E7A9}"/>
                </c:ext>
              </c:extLst>
            </c:dLbl>
            <c:dLbl>
              <c:idx val="61"/>
              <c:tx>
                <c:rich>
                  <a:bodyPr/>
                  <a:lstStyle/>
                  <a:p>
                    <a:r>
                      <a:t>BIC FLEX 5 HYBRID 5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639-449C-96E6-64AD3E49E7A9}"/>
                </c:ext>
              </c:extLst>
            </c:dLbl>
            <c:dLbl>
              <c:idx val="62"/>
              <c:tx>
                <c:rich>
                  <a:bodyPr/>
                  <a:lstStyle/>
                  <a:p>
                    <a:r>
                      <a:t>BIC FLEX 5 HYBRID 5 BLADE HYBRID NORMAL 7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639-449C-96E6-64AD3E49E7A9}"/>
                </c:ext>
              </c:extLst>
            </c:dLbl>
            <c:dLbl>
              <c:idx val="63"/>
              <c:tx>
                <c:rich>
                  <a:bodyPr/>
                  <a:lstStyle/>
                  <a:p>
                    <a:r>
                      <a:t>GILLETTE FUSION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639-449C-96E6-64AD3E49E7A9}"/>
                </c:ext>
              </c:extLst>
            </c:dLbl>
            <c:dLbl>
              <c:idx val="64"/>
              <c:tx>
                <c:rich>
                  <a:bodyPr/>
                  <a:lstStyle/>
                  <a:p>
                    <a:r>
                      <a:t>HARRY'S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639-449C-96E6-64AD3E49E7A9}"/>
                </c:ext>
              </c:extLst>
            </c:dLbl>
            <c:dLbl>
              <c:idx val="65"/>
              <c:tx>
                <c:rich>
                  <a:bodyPr/>
                  <a:lstStyle/>
                  <a:p>
                    <a:r>
                      <a:t>GILLETTE SKINGUARD 2 BLADE REFILL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639-449C-96E6-64AD3E49E7A9}"/>
                </c:ext>
              </c:extLst>
            </c:dLbl>
            <c:dLbl>
              <c:idx val="66"/>
              <c:tx>
                <c:rich>
                  <a:bodyPr/>
                  <a:lstStyle/>
                  <a:p>
                    <a:r>
                      <a:t>EQUATE SPEED 3 SENSITIVE GREEN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9639-449C-96E6-64AD3E49E7A9}"/>
                </c:ext>
              </c:extLst>
            </c:dLbl>
            <c:dLbl>
              <c:idx val="67"/>
              <c:tx>
                <c:rich>
                  <a:bodyPr/>
                  <a:lstStyle/>
                  <a:p>
                    <a:r>
                      <a:t>GILLETTE SENSOR 2 PLUS PIVOT 2 BLADE DISPOSABLE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639-449C-96E6-64AD3E49E7A9}"/>
                </c:ext>
              </c:extLst>
            </c:dLbl>
            <c:dLbl>
              <c:idx val="68"/>
              <c:tx>
                <c:rich>
                  <a:bodyPr/>
                  <a:lstStyle/>
                  <a:p>
                    <a:r>
                      <a:t>BIC COMFORT 3 HYBRID 3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639-449C-96E6-64AD3E49E7A9}"/>
                </c:ext>
              </c:extLst>
            </c:dLbl>
            <c:dLbl>
              <c:idx val="69"/>
              <c:tx>
                <c:rich>
                  <a:bodyPr/>
                  <a:lstStyle/>
                  <a:p>
                    <a:r>
                      <a:t>BIC SINGLE SENSITIVE 1 BLADE DISPOSABLE SENSITIVE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639-449C-96E6-64AD3E49E7A9}"/>
                </c:ext>
              </c:extLst>
            </c:dLbl>
            <c:dLbl>
              <c:idx val="7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639-449C-96E6-64AD3E49E7A9}"/>
                </c:ext>
              </c:extLst>
            </c:dLbl>
            <c:dLbl>
              <c:idx val="71"/>
              <c:tx>
                <c:rich>
                  <a:bodyPr/>
                  <a:lstStyle/>
                  <a:p>
                    <a:r>
                      <a:t>GILLETTE SENSOR 2 FIXED 2 BLADE DISPOSABLE NORMAL 1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639-449C-96E6-64AD3E49E7A9}"/>
                </c:ext>
              </c:extLst>
            </c:dLbl>
            <c:dLbl>
              <c:idx val="72"/>
              <c:tx>
                <c:rich>
                  <a:bodyPr/>
                  <a:lstStyle/>
                  <a:p>
                    <a:r>
                      <a:t>SCHICK XTREME 3 SENSITIVE GREEN BLACK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639-449C-96E6-64AD3E49E7A9}"/>
                </c:ext>
              </c:extLst>
            </c:dLbl>
            <c:dLbl>
              <c:idx val="73"/>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639-449C-96E6-64AD3E49E7A9}"/>
                </c:ext>
              </c:extLst>
            </c:dLbl>
            <c:dLbl>
              <c:idx val="74"/>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9639-449C-96E6-64AD3E49E7A9}"/>
                </c:ext>
              </c:extLst>
            </c:dLbl>
            <c:dLbl>
              <c:idx val="75"/>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639-449C-96E6-64AD3E49E7A9}"/>
                </c:ext>
              </c:extLst>
            </c:dLbl>
            <c:dLbl>
              <c:idx val="76"/>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639-449C-96E6-64AD3E49E7A9}"/>
                </c:ext>
              </c:extLst>
            </c:dLbl>
            <c:dLbl>
              <c:idx val="77"/>
              <c:tx>
                <c:rich>
                  <a:bodyPr/>
                  <a:lstStyle/>
                  <a:p>
                    <a:r>
                      <a:t>EQUATE CALIBER 3 3 BLADE DISPOSABLE NORMAL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639-449C-96E6-64AD3E49E7A9}"/>
                </c:ext>
              </c:extLst>
            </c:dLbl>
            <c:dLbl>
              <c:idx val="78"/>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639-449C-96E6-64AD3E49E7A9}"/>
                </c:ext>
              </c:extLst>
            </c:dLbl>
            <c:dLbl>
              <c:idx val="79"/>
              <c:tx>
                <c:rich>
                  <a:bodyPr/>
                  <a:lstStyle/>
                  <a:p>
                    <a:r>
                      <a:t>GILLETTE SENSOR 2 PLUS 2 BLADE DISPOSABLE NORMAL 21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639-449C-96E6-64AD3E49E7A9}"/>
                </c:ext>
              </c:extLst>
            </c:dLbl>
            <c:dLbl>
              <c:idx val="80"/>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639-449C-96E6-64AD3E49E7A9}"/>
                </c:ext>
              </c:extLst>
            </c:dLbl>
            <c:dLbl>
              <c:idx val="81"/>
              <c:tx>
                <c:rich>
                  <a:bodyPr/>
                  <a:lstStyle/>
                  <a:p>
                    <a:r>
                      <a:t>EQUATE SPEED 3 SENSITIVE GREEN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639-449C-96E6-64AD3E49E7A9}"/>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3</c:f>
              <c:numCache>
                <c:formatCode>General</c:formatCode>
                <c:ptCount val="82"/>
                <c:pt idx="0">
                  <c:v>0.16</c:v>
                </c:pt>
                <c:pt idx="1">
                  <c:v>0.11</c:v>
                </c:pt>
                <c:pt idx="2">
                  <c:v>0.1</c:v>
                </c:pt>
                <c:pt idx="3">
                  <c:v>7.0000000000000007E-2</c:v>
                </c:pt>
                <c:pt idx="4">
                  <c:v>0.14000000000000001</c:v>
                </c:pt>
                <c:pt idx="5">
                  <c:v>0.14000000000000001</c:v>
                </c:pt>
                <c:pt idx="6">
                  <c:v>0.11</c:v>
                </c:pt>
                <c:pt idx="7">
                  <c:v>0.06</c:v>
                </c:pt>
                <c:pt idx="8">
                  <c:v>0.11</c:v>
                </c:pt>
                <c:pt idx="9">
                  <c:v>0.19</c:v>
                </c:pt>
                <c:pt idx="10">
                  <c:v>0.03</c:v>
                </c:pt>
                <c:pt idx="11">
                  <c:v>0.45</c:v>
                </c:pt>
                <c:pt idx="12">
                  <c:v>0.03</c:v>
                </c:pt>
                <c:pt idx="13">
                  <c:v>0.11</c:v>
                </c:pt>
                <c:pt idx="14">
                  <c:v>0.05</c:v>
                </c:pt>
                <c:pt idx="15">
                  <c:v>0.02</c:v>
                </c:pt>
                <c:pt idx="16">
                  <c:v>0.14000000000000001</c:v>
                </c:pt>
                <c:pt idx="17">
                  <c:v>0.16</c:v>
                </c:pt>
                <c:pt idx="18">
                  <c:v>0.01</c:v>
                </c:pt>
                <c:pt idx="19">
                  <c:v>0.04</c:v>
                </c:pt>
                <c:pt idx="20">
                  <c:v>0.04</c:v>
                </c:pt>
                <c:pt idx="21">
                  <c:v>0.1</c:v>
                </c:pt>
                <c:pt idx="22">
                  <c:v>0.35</c:v>
                </c:pt>
                <c:pt idx="23">
                  <c:v>0.1</c:v>
                </c:pt>
                <c:pt idx="24">
                  <c:v>0.12</c:v>
                </c:pt>
                <c:pt idx="25">
                  <c:v>7.0000000000000007E-2</c:v>
                </c:pt>
                <c:pt idx="26">
                  <c:v>7.0000000000000007E-2</c:v>
                </c:pt>
                <c:pt idx="27">
                  <c:v>0.04</c:v>
                </c:pt>
                <c:pt idx="28">
                  <c:v>0.28000000000000003</c:v>
                </c:pt>
                <c:pt idx="29">
                  <c:v>0.39</c:v>
                </c:pt>
                <c:pt idx="30">
                  <c:v>0.01</c:v>
                </c:pt>
                <c:pt idx="31">
                  <c:v>0.47</c:v>
                </c:pt>
                <c:pt idx="32">
                  <c:v>0.14000000000000001</c:v>
                </c:pt>
                <c:pt idx="33">
                  <c:v>0.47</c:v>
                </c:pt>
                <c:pt idx="34">
                  <c:v>0.39</c:v>
                </c:pt>
                <c:pt idx="35">
                  <c:v>0.46</c:v>
                </c:pt>
                <c:pt idx="36">
                  <c:v>0.54</c:v>
                </c:pt>
                <c:pt idx="37">
                  <c:v>0.28999999999999998</c:v>
                </c:pt>
                <c:pt idx="38">
                  <c:v>0.03</c:v>
                </c:pt>
                <c:pt idx="39">
                  <c:v>0.01</c:v>
                </c:pt>
                <c:pt idx="40">
                  <c:v>0.09</c:v>
                </c:pt>
                <c:pt idx="41">
                  <c:v>0.52</c:v>
                </c:pt>
                <c:pt idx="42">
                  <c:v>0.45</c:v>
                </c:pt>
                <c:pt idx="43">
                  <c:v>0.02</c:v>
                </c:pt>
                <c:pt idx="44">
                  <c:v>0.65</c:v>
                </c:pt>
                <c:pt idx="45">
                  <c:v>0.4</c:v>
                </c:pt>
                <c:pt idx="46">
                  <c:v>0.39</c:v>
                </c:pt>
                <c:pt idx="47">
                  <c:v>0.1</c:v>
                </c:pt>
                <c:pt idx="48">
                  <c:v>0.09</c:v>
                </c:pt>
                <c:pt idx="49">
                  <c:v>0.11</c:v>
                </c:pt>
                <c:pt idx="50">
                  <c:v>0.03</c:v>
                </c:pt>
                <c:pt idx="51">
                  <c:v>0.04</c:v>
                </c:pt>
                <c:pt idx="52">
                  <c:v>0.39</c:v>
                </c:pt>
                <c:pt idx="53">
                  <c:v>0.06</c:v>
                </c:pt>
                <c:pt idx="54">
                  <c:v>0.2</c:v>
                </c:pt>
                <c:pt idx="55">
                  <c:v>0.12</c:v>
                </c:pt>
                <c:pt idx="56">
                  <c:v>0.01</c:v>
                </c:pt>
                <c:pt idx="57">
                  <c:v>0.04</c:v>
                </c:pt>
                <c:pt idx="58">
                  <c:v>0.02</c:v>
                </c:pt>
                <c:pt idx="59">
                  <c:v>0.66</c:v>
                </c:pt>
                <c:pt idx="60">
                  <c:v>0.42</c:v>
                </c:pt>
                <c:pt idx="61">
                  <c:v>0.36</c:v>
                </c:pt>
                <c:pt idx="62">
                  <c:v>0.11</c:v>
                </c:pt>
                <c:pt idx="63">
                  <c:v>0.28000000000000003</c:v>
                </c:pt>
                <c:pt idx="64">
                  <c:v>0.12</c:v>
                </c:pt>
                <c:pt idx="65">
                  <c:v>0.54</c:v>
                </c:pt>
                <c:pt idx="66">
                  <c:v>0.06</c:v>
                </c:pt>
                <c:pt idx="67">
                  <c:v>0.14000000000000001</c:v>
                </c:pt>
                <c:pt idx="68">
                  <c:v>0.26</c:v>
                </c:pt>
                <c:pt idx="69">
                  <c:v>0.08</c:v>
                </c:pt>
                <c:pt idx="70">
                  <c:v>0.08</c:v>
                </c:pt>
                <c:pt idx="71">
                  <c:v>0.11</c:v>
                </c:pt>
                <c:pt idx="72">
                  <c:v>0.04</c:v>
                </c:pt>
                <c:pt idx="73">
                  <c:v>0.18</c:v>
                </c:pt>
                <c:pt idx="74">
                  <c:v>0.16</c:v>
                </c:pt>
                <c:pt idx="75">
                  <c:v>0.14000000000000001</c:v>
                </c:pt>
                <c:pt idx="76">
                  <c:v>0.57999999999999996</c:v>
                </c:pt>
                <c:pt idx="77">
                  <c:v>0.06</c:v>
                </c:pt>
                <c:pt idx="78">
                  <c:v>0.08</c:v>
                </c:pt>
                <c:pt idx="79">
                  <c:v>0.22</c:v>
                </c:pt>
                <c:pt idx="80">
                  <c:v>0.01</c:v>
                </c:pt>
                <c:pt idx="81">
                  <c:v>0.06</c:v>
                </c:pt>
              </c:numCache>
            </c:numRef>
          </c:xVal>
          <c:yVal>
            <c:numRef>
              <c:f>Sheet1!$B$2:$B$83</c:f>
              <c:numCache>
                <c:formatCode>General</c:formatCode>
                <c:ptCount val="82"/>
                <c:pt idx="0">
                  <c:v>1.312053273286643</c:v>
                </c:pt>
                <c:pt idx="1">
                  <c:v>0.67602970542929453</c:v>
                </c:pt>
                <c:pt idx="2">
                  <c:v>0.28036068611811321</c:v>
                </c:pt>
                <c:pt idx="3">
                  <c:v>2.322914669885693E-2</c:v>
                </c:pt>
                <c:pt idx="4">
                  <c:v>1.15044401511685</c:v>
                </c:pt>
                <c:pt idx="5">
                  <c:v>0.45428332366686403</c:v>
                </c:pt>
                <c:pt idx="6">
                  <c:v>0.91679313854690692</c:v>
                </c:pt>
                <c:pt idx="7">
                  <c:v>0.45219100593391298</c:v>
                </c:pt>
                <c:pt idx="8">
                  <c:v>8.8637819366076523E-2</c:v>
                </c:pt>
                <c:pt idx="9">
                  <c:v>1.313920192130057</c:v>
                </c:pt>
                <c:pt idx="10">
                  <c:v>0.15600012891003129</c:v>
                </c:pt>
                <c:pt idx="11">
                  <c:v>1.2051359733489531</c:v>
                </c:pt>
                <c:pt idx="12">
                  <c:v>5.2758507112676142E-2</c:v>
                </c:pt>
                <c:pt idx="13">
                  <c:v>0.2181542191916945</c:v>
                </c:pt>
                <c:pt idx="14">
                  <c:v>0.36596438157955558</c:v>
                </c:pt>
                <c:pt idx="15">
                  <c:v>0</c:v>
                </c:pt>
                <c:pt idx="16">
                  <c:v>0.31284334569805361</c:v>
                </c:pt>
                <c:pt idx="17">
                  <c:v>0.24607902091034181</c:v>
                </c:pt>
                <c:pt idx="18">
                  <c:v>0</c:v>
                </c:pt>
                <c:pt idx="19">
                  <c:v>0</c:v>
                </c:pt>
                <c:pt idx="20">
                  <c:v>0.20391858358753209</c:v>
                </c:pt>
                <c:pt idx="21">
                  <c:v>0</c:v>
                </c:pt>
                <c:pt idx="22">
                  <c:v>0.37892159394589803</c:v>
                </c:pt>
                <c:pt idx="23">
                  <c:v>0.51540924912371144</c:v>
                </c:pt>
                <c:pt idx="24">
                  <c:v>0</c:v>
                </c:pt>
                <c:pt idx="25">
                  <c:v>0</c:v>
                </c:pt>
                <c:pt idx="26">
                  <c:v>0</c:v>
                </c:pt>
                <c:pt idx="27">
                  <c:v>2.5617209633611041E-2</c:v>
                </c:pt>
                <c:pt idx="28">
                  <c:v>9.6810902583398334E-2</c:v>
                </c:pt>
                <c:pt idx="29">
                  <c:v>0.60985348269802508</c:v>
                </c:pt>
                <c:pt idx="30">
                  <c:v>0</c:v>
                </c:pt>
                <c:pt idx="31">
                  <c:v>0.98571760573774991</c:v>
                </c:pt>
                <c:pt idx="32">
                  <c:v>0</c:v>
                </c:pt>
                <c:pt idx="33">
                  <c:v>1.2512478823607049</c:v>
                </c:pt>
                <c:pt idx="34">
                  <c:v>0.34438555153868777</c:v>
                </c:pt>
                <c:pt idx="35">
                  <c:v>0.95133552575640024</c:v>
                </c:pt>
                <c:pt idx="36">
                  <c:v>1.7794925098213989</c:v>
                </c:pt>
                <c:pt idx="37">
                  <c:v>0</c:v>
                </c:pt>
                <c:pt idx="38">
                  <c:v>0</c:v>
                </c:pt>
                <c:pt idx="39">
                  <c:v>0</c:v>
                </c:pt>
                <c:pt idx="40">
                  <c:v>0</c:v>
                </c:pt>
                <c:pt idx="41">
                  <c:v>2.2922743831121171</c:v>
                </c:pt>
                <c:pt idx="42">
                  <c:v>0.39685483890510381</c:v>
                </c:pt>
                <c:pt idx="43">
                  <c:v>0</c:v>
                </c:pt>
                <c:pt idx="44">
                  <c:v>2.2987878695261892</c:v>
                </c:pt>
                <c:pt idx="45">
                  <c:v>0.53310328427430254</c:v>
                </c:pt>
                <c:pt idx="46">
                  <c:v>0.86440057806425596</c:v>
                </c:pt>
                <c:pt idx="47">
                  <c:v>2.1416509932592909E-3</c:v>
                </c:pt>
                <c:pt idx="48">
                  <c:v>0</c:v>
                </c:pt>
                <c:pt idx="49">
                  <c:v>0</c:v>
                </c:pt>
                <c:pt idx="50">
                  <c:v>0</c:v>
                </c:pt>
                <c:pt idx="51">
                  <c:v>5.5183946488294312E-2</c:v>
                </c:pt>
                <c:pt idx="52">
                  <c:v>6.0135664931825483E-2</c:v>
                </c:pt>
                <c:pt idx="53">
                  <c:v>0.92898913951545525</c:v>
                </c:pt>
                <c:pt idx="54">
                  <c:v>0.44487523013291641</c:v>
                </c:pt>
                <c:pt idx="55">
                  <c:v>0</c:v>
                </c:pt>
                <c:pt idx="56">
                  <c:v>0</c:v>
                </c:pt>
                <c:pt idx="57">
                  <c:v>0</c:v>
                </c:pt>
                <c:pt idx="58">
                  <c:v>0</c:v>
                </c:pt>
                <c:pt idx="59">
                  <c:v>2.62605457765184</c:v>
                </c:pt>
                <c:pt idx="60">
                  <c:v>-0.19122701483892099</c:v>
                </c:pt>
                <c:pt idx="61">
                  <c:v>0</c:v>
                </c:pt>
                <c:pt idx="62">
                  <c:v>0</c:v>
                </c:pt>
                <c:pt idx="63">
                  <c:v>0</c:v>
                </c:pt>
                <c:pt idx="64">
                  <c:v>0</c:v>
                </c:pt>
                <c:pt idx="65">
                  <c:v>0.47877352484274333</c:v>
                </c:pt>
                <c:pt idx="66">
                  <c:v>0</c:v>
                </c:pt>
                <c:pt idx="67">
                  <c:v>0</c:v>
                </c:pt>
                <c:pt idx="68">
                  <c:v>0</c:v>
                </c:pt>
                <c:pt idx="69">
                  <c:v>0</c:v>
                </c:pt>
                <c:pt idx="70">
                  <c:v>0</c:v>
                </c:pt>
                <c:pt idx="71">
                  <c:v>0</c:v>
                </c:pt>
                <c:pt idx="72">
                  <c:v>0</c:v>
                </c:pt>
                <c:pt idx="73">
                  <c:v>0</c:v>
                </c:pt>
                <c:pt idx="74">
                  <c:v>0</c:v>
                </c:pt>
                <c:pt idx="75">
                  <c:v>0</c:v>
                </c:pt>
                <c:pt idx="76">
                  <c:v>0.7357053867086325</c:v>
                </c:pt>
                <c:pt idx="77">
                  <c:v>0</c:v>
                </c:pt>
                <c:pt idx="78">
                  <c:v>0</c:v>
                </c:pt>
                <c:pt idx="79">
                  <c:v>0</c:v>
                </c:pt>
                <c:pt idx="80">
                  <c:v>0</c:v>
                </c:pt>
                <c:pt idx="81">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SCHICK XTREME 3 SENSITIVE GREEN HOLIDAY GIFT PACK 3 BLADE DISPOSABLE SENSITIVE 8CT</c:v>
                  </c:pt>
                  <c:pt idx="7">
                    <c:v>BIC FLEX 5 HYBRID BLACK WHITE HOLIDAY GIFT PACK 5 BLADE HYBRID NORMAL 7CT</c:v>
                  </c:pt>
                  <c:pt idx="8">
                    <c:v>HYDRO 5 SENSITIVE 5 BLADE REFILL SENSITIVE 12CT</c:v>
                  </c:pt>
                  <c:pt idx="9">
                    <c:v>GILLETTE LABS ARCTIC CAMO HOLIDAY GIFT PACK 5 BLADE RAZOR NORMAL 2CT</c:v>
                  </c:pt>
                  <c:pt idx="10">
                    <c:v>DOLLAR SHAVE CLUB BLACK 6 BLADE RAZOR NORMAL 2CT</c:v>
                  </c:pt>
                  <c:pt idx="11">
                    <c:v>GILLETTE FUSION 5 PROGLIDE 5 BLADE RAZOR NORMAL 4CT</c:v>
                  </c:pt>
                  <c:pt idx="12">
                    <c:v>DOLLAR SHAVE CLUB 6 BLADE REFILL NORMAL 4CT</c:v>
                  </c:pt>
                  <c:pt idx="13">
                    <c:v>BIC COMFORT 3 HYBRID 3 BLADE HYBRID SENSITIVE 6CT</c:v>
                  </c:pt>
                  <c:pt idx="14">
                    <c:v>BIC FLEX 5 WHITE BLACK HOLIDAY GIFT PACK 5 BLADE DISPOSABLE NORMAL 6CT</c:v>
                  </c:pt>
                  <c:pt idx="15">
                    <c:v>GILLETTE FUSION 5 5 BLADE RAZOR NORMAL 5CT</c:v>
                  </c:pt>
                  <c:pt idx="16">
                    <c:v>GILLETTE LABS 5 BLADE RAZOR NORMAL 1CT</c:v>
                  </c:pt>
                  <c:pt idx="17">
                    <c:v>BIC FLEX 3 3 BLADE DISPOSABLE NORMAL 2CT</c:v>
                  </c:pt>
                  <c:pt idx="18">
                    <c:v>EQUATE CALIBER 5 5 BLADE DISPOSABLE NORMAL 3CT</c:v>
                  </c:pt>
                  <c:pt idx="19">
                    <c:v>GILLETTE FUSION 5 5 BLADE REFILL NORMAL 8CT</c:v>
                  </c:pt>
                  <c:pt idx="20">
                    <c:v>EQUATE TB (TWIN BLADE) BLUE 2 BLADE DISPOSABLE NORMAL 5CT</c:v>
                  </c:pt>
                  <c:pt idx="21">
                    <c:v>SCHICK XTREME 3 SENSITIVE GREEN 3 BLADE DISPOSABLE SENSITIVE 8CT</c:v>
                  </c:pt>
                  <c:pt idx="22">
                    <c:v>GILLETTE MACH 3 3 BLADE REFILL NORMAL 12CT</c:v>
                  </c:pt>
                  <c:pt idx="23">
                    <c:v>GILLETTE LABS 5 BLADE REFILL NORMAL 6CT</c:v>
                  </c:pt>
                  <c:pt idx="24">
                    <c:v>HYDRO 5 SENSITIVE 5 BLADE RAZOR SENSITIVE 3CT</c:v>
                  </c:pt>
                  <c:pt idx="25">
                    <c:v>SCHICK XTREME 3 SENSITIVE BLACK 3 BLADE DISPOSABLE SENSITIVE 4CT</c:v>
                  </c:pt>
                  <c:pt idx="26">
                    <c:v>SCHICK XTREME 2 SENSITIVE 2 BLADE DISPOSABLE NORMAL 12CT</c:v>
                  </c:pt>
                  <c:pt idx="27">
                    <c:v>DOLLAR SHAVE CLUB 6 BLADE REFILL NORMAL 8CT</c:v>
                  </c:pt>
                  <c:pt idx="28">
                    <c:v>GILLETTE MACH 3 3 BLADE DISPOSABLE SENSITIVE 6CT</c:v>
                  </c:pt>
                  <c:pt idx="29">
                    <c:v>GILLETTE FUSION 5 5 BLADE RAZOR NORMAL 1CT</c:v>
                  </c:pt>
                  <c:pt idx="30">
                    <c:v>HARRY'S 5 BLADE REFILL NORMAL 4CT</c:v>
                  </c:pt>
                  <c:pt idx="31">
                    <c:v>GILLETTE LABS 5 BLADE RAZOR NORMAL 4CT</c:v>
                  </c:pt>
                  <c:pt idx="32">
                    <c:v>SCHICK XTREME 3 SENSITIVE BLACK GREEN 3 BLADE DISPOSABLE SENSITIVE 12CT</c:v>
                  </c:pt>
                  <c:pt idx="33">
                    <c:v>GILLETTE FUSION 5 PROSHIELD GRAY 5 BLADE RAZOR NORMAL 2CT</c:v>
                  </c:pt>
                  <c:pt idx="34">
                    <c:v>EQUATE EASY FIT 5 5 BLADE REFILL NORMAL 8CT</c:v>
                  </c:pt>
                  <c:pt idx="35">
                    <c:v>GILLETTE LABS 5 BLADE RAZOR NORMAL 2CT</c:v>
                  </c:pt>
                  <c:pt idx="36">
                    <c:v>GILLETTE FUSION 5 PROGLIDE STYLER REM BLADES RAZOR 1CT</c:v>
                  </c:pt>
                  <c:pt idx="37">
                    <c:v>GILLETTE MACH 3 3 BLADE RAZOR NORMAL 2CT</c:v>
                  </c:pt>
                  <c:pt idx="38">
                    <c:v>GILLETTE FUSION 5 5 BLADE RAZOR NORMAL 2CT</c:v>
                  </c:pt>
                  <c:pt idx="39">
                    <c:v>BIC FLEX 5 HYBRID 5 BLADE HYBRID NORMAL 4CT</c:v>
                  </c:pt>
                  <c:pt idx="40">
                    <c:v>GILLETTE FUSION 5 5 BLADE RAZOR NORMAL 7CT</c:v>
                  </c:pt>
                  <c:pt idx="41">
                    <c:v>BIC EASYRINSE BLUE 4 BLADE DISPOSABLE NORMAL 2CT</c:v>
                  </c:pt>
                  <c:pt idx="42">
                    <c:v>GILLETTE FUSION 5 PROGLIDE 5 BLADE RAZOR NORMAL 1CT</c:v>
                  </c:pt>
                  <c:pt idx="43">
                    <c:v>BIC FLEX 5 BLACK WHITE 5 BLADE DISPOSABLE NORMAL 2CT</c:v>
                  </c:pt>
                  <c:pt idx="44">
                    <c:v>GILLETTE INTIMATE BLACK 5 BLADE RAZOR NORMAL 2CT</c:v>
                  </c:pt>
                  <c:pt idx="45">
                    <c:v>BIC EASYRINSE 4 BLADE HYBRID NORMAL 3CT</c:v>
                  </c:pt>
                  <c:pt idx="46">
                    <c:v>GILLETTE FUSION 5 PROGLIDE 5 BLADE RAZOR NORMAL 2CT</c:v>
                  </c:pt>
                  <c:pt idx="47">
                    <c:v>EQUATE EASY FIT 5 5 BLADE REFILL NORMAL 4CT</c:v>
                  </c:pt>
                  <c:pt idx="48">
                    <c:v>HARRY'S 5 BLADE REFILL NORMAL 8CT</c:v>
                  </c:pt>
                  <c:pt idx="49">
                    <c:v>GILLETTE MACH 3 3 BLADE REFILL NORMAL 8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fld id="{8BA4F174-A127-4123-9116-EDF914D5D5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0E78F660-5563-4F19-85FC-9F20749B3B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5775C513-A2BA-490C-A850-C036B32D19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BFC2676E-D1D6-445D-B0AB-BE3E201808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9B2CCA0F-D22D-429A-992C-FBF7C62DDC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BB715A1F-26E0-4CBE-8CF1-B430B9810E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7B3B608B-7E17-4921-8214-5D59E17938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45F29CC1-6F1F-4572-ADA4-31C1FB85FE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F3CBD195-164C-4330-A956-E0EA8A350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DF055F0B-4802-458B-84F7-492532D0D4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9A481B53-DA11-41D7-9F16-C46BA8030C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267EA37C-0676-4D40-BAA7-88FC0E7110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B37087CD-99B0-4362-A6A8-F3B047F937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F78F1F03-1473-4269-9695-C7A75AC9B1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58B54003-B12D-4453-B139-FD7D716EF1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F7A910EE-F5E6-477A-BCAD-D0FD70CEEE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DA316B95-ED29-41A4-BA45-1152154B03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51CA46A3-80C1-4F81-A816-10614E103A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74ED14E4-0CFC-41CF-9E9F-22FB016389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968E827F-F649-4FC8-BA3D-1CE2B5306B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1D03BFF9-BE7E-49CC-9012-625DE7EE65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A973890E-712B-4793-AD5F-67082FB190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2C3D2575-1E5F-4FCC-AD3E-C2620C6F4A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B42A6645-594B-4E64-9E70-79A1F8E4B0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FB6A88AB-1BE0-4B18-A8A7-28DCCA1150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5BE6659C-F2D0-4B17-9D64-10F06EB26F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52CEE8CE-6361-4672-9F76-1CBF7991BA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0B9A5480-BE3D-4262-AB4A-6F8A19761B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F9A20E17-320A-4BFA-A36B-83A2CEFE39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34C9E6BE-6641-4C32-B490-DD83D126B2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BFC48457-B867-46C4-97DD-66E965B069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4CC03AB0-8CF5-4906-83BB-B7178D6AA2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4233C85A-B3DC-4F15-8581-D661EBCDDE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09619E75-DD22-4B2B-B456-C8F87E2046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A25DC881-3378-4BEE-A5E5-BB5ED9E285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0FC82F31-6ACA-422C-8FCA-7EB456BECD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2ACC131B-E9E7-481E-814F-5BCFCD828A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FDC6CA24-6FA2-4561-980D-6D4BA3D40E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1</c:v>
                </c:pt>
                <c:pt idx="1">
                  <c:v>0.1</c:v>
                </c:pt>
                <c:pt idx="2">
                  <c:v>0.09</c:v>
                </c:pt>
                <c:pt idx="3">
                  <c:v>0.15</c:v>
                </c:pt>
                <c:pt idx="4">
                  <c:v>0.16</c:v>
                </c:pt>
                <c:pt idx="5">
                  <c:v>0.15</c:v>
                </c:pt>
                <c:pt idx="6">
                  <c:v>0.63</c:v>
                </c:pt>
                <c:pt idx="7">
                  <c:v>0.32</c:v>
                </c:pt>
                <c:pt idx="8">
                  <c:v>0.18</c:v>
                </c:pt>
                <c:pt idx="9">
                  <c:v>0.09</c:v>
                </c:pt>
              </c:numCache>
            </c:numRef>
          </c:xVal>
          <c:yVal>
            <c:numRef>
              <c:f>Sheet1!$B$2:$B$11</c:f>
              <c:numCache>
                <c:formatCode>General</c:formatCode>
                <c:ptCount val="10"/>
                <c:pt idx="0">
                  <c:v>0.41971844948119458</c:v>
                </c:pt>
                <c:pt idx="1">
                  <c:v>0.32321333425762577</c:v>
                </c:pt>
                <c:pt idx="2">
                  <c:v>0.23920180796808771</c:v>
                </c:pt>
                <c:pt idx="3">
                  <c:v>0.49380320527335569</c:v>
                </c:pt>
                <c:pt idx="4">
                  <c:v>0.57084878338506662</c:v>
                </c:pt>
                <c:pt idx="5">
                  <c:v>0.81179470441236323</c:v>
                </c:pt>
                <c:pt idx="6">
                  <c:v>0.83772084414568115</c:v>
                </c:pt>
                <c:pt idx="7">
                  <c:v>0.883084064382609</c:v>
                </c:pt>
                <c:pt idx="8">
                  <c:v>1.5836045021710721</c:v>
                </c:pt>
                <c:pt idx="9">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FUSION 5 PROGLIDE 5 BLADE RAZOR NORMAL 13CT</c:v>
                  </c:pt>
                  <c:pt idx="3">
                    <c:v>GILLETTE SKINGUARD POWER 2 BLADE REFILL SENSITIVE 13CT</c:v>
                  </c:pt>
                  <c:pt idx="4">
                    <c:v>GILLETTE FUSION 5 5 BLADE RAZOR NORMAL 9CT</c:v>
                  </c:pt>
                  <c:pt idx="5">
                    <c:v>HARRY'S ORANGE 5 BLADE RAZOR NORMAL 11CT</c:v>
                  </c:pt>
                  <c:pt idx="6">
                    <c:v>GILLETTE INTIMATE BLACK 5 BLADE RAZOR 9CT</c:v>
                  </c:pt>
                  <c:pt idx="7">
                    <c:v>GILLETTE FUSION 5 PROGLIDE 5 BLADE REFILL NORMAL 15CT</c:v>
                  </c:pt>
                  <c:pt idx="8">
                    <c:v>GILLETTE LABS 5 BLADE RAZOR NORMAL 6CT</c:v>
                  </c:pt>
                  <c:pt idx="9">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4F06065E-B011-4F20-8947-E72DA823A1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BB8E3F6C-E7BE-4BA4-8831-EEB2CE4F48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7ABF7101-4FF9-40E9-8BB4-B8689F1EA6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1F528686-2C26-468B-80EA-5A6548BAF1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7021872F-77BD-4936-AFD3-1DDFEA927F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DF205B1A-78AE-406F-87C4-C00334F88A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79A13905-7704-4D69-B54E-7E08C589DD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030DC2EE-04B0-40D4-A52A-59C4FB733F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C1B1CFD6-1CEC-446E-A982-83EB767233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B5118DC8-B8D5-4823-A341-A68C0AFD81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E32B98C1-F86E-4AFC-868B-A806CBC6F8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0E92CADC-0EF5-4EE3-8726-9593AF893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CC8F08BE-8AAF-4991-AF20-532D9B4E67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446C8A68-1B13-42B1-99CE-5F7AE95A08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E8DBBC37-39DC-46AC-880B-81C0008990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18B4D84A-8833-4F6E-9891-9CC8628224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C65C9A72-BD3E-4446-8818-5268506410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F34A9819-9F42-4B81-9675-0A538737C8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B6F1A10C-600D-4B86-B8AF-348D7A3397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8FEDAB36-FACC-4E21-826B-C8AAAF2848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E28B05D6-7FEE-4EB7-B736-C1AA3A67BD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70C25D62-CC63-4613-955B-D9258C73FA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FBA8E4BA-85D1-466E-8A48-F208B33E7C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5611D5A9-AF6D-481B-BA84-879EFD5397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965D14CD-1F03-4B27-8F1B-B80F7DE07E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23B43E7E-031C-4D97-A530-FA67D10BFF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43D8EADE-E0EE-4EE5-8C73-A09B96F014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C7995F3-D20A-4CA9-A272-EC7C9DDD4A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0E8CB706-992F-425B-9EF7-83051ACE40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00DBD10F-CB19-4D92-ABB7-B5231FD532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CFDEB45E-88E5-46A9-86D8-D0A6138B31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EB85EE17-D087-41C1-B3E3-445F4EF5B6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84CED08B-122E-4508-B990-7BBA27CD80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6039C84D-F9B5-4CB1-99BE-EF05463259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4CBB2F6D-9327-45C4-822D-6676F0DD1F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BB8CA5AC-FC62-4F7A-8663-81281DB00C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0B25DA75-ADB4-4315-88F1-F4765EC23C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A762776B-53DF-4F62-A1E3-B19B096465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B88F606D-BB50-44FD-8911-A1D4B77733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1A04E146-B0D2-4C38-8FCA-0AFFD71E9A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D75D6AE8-EFF4-4085-BAFA-C1BB7296CD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83</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BIC FLEX 5 HYBRID 5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FLEX 5 HYBRID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BIC COMFORT 3 HYBRID 3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DB0-49CB-ABC3-14511A0183AB}"/>
                </c:ext>
              </c:extLst>
            </c:dLbl>
            <c:dLbl>
              <c:idx val="51"/>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DB0-49CB-ABC3-14511A0183AB}"/>
                </c:ext>
              </c:extLst>
            </c:dLbl>
            <c:dLbl>
              <c:idx val="52"/>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DB0-49CB-ABC3-14511A0183AB}"/>
                </c:ext>
              </c:extLst>
            </c:dLbl>
            <c:dLbl>
              <c:idx val="53"/>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DB0-49CB-ABC3-14511A0183AB}"/>
                </c:ext>
              </c:extLst>
            </c:dLbl>
            <c:dLbl>
              <c:idx val="54"/>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DB0-49CB-ABC3-14511A0183AB}"/>
                </c:ext>
              </c:extLst>
            </c:dLbl>
            <c:dLbl>
              <c:idx val="55"/>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DB0-49CB-ABC3-14511A0183AB}"/>
                </c:ext>
              </c:extLst>
            </c:dLbl>
            <c:dLbl>
              <c:idx val="56"/>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DB0-49CB-ABC3-14511A0183AB}"/>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8</c:f>
              <c:numCache>
                <c:formatCode>General</c:formatCode>
                <c:ptCount val="57"/>
                <c:pt idx="0">
                  <c:v>0.16</c:v>
                </c:pt>
                <c:pt idx="1">
                  <c:v>0.11</c:v>
                </c:pt>
                <c:pt idx="2">
                  <c:v>0.1</c:v>
                </c:pt>
                <c:pt idx="3">
                  <c:v>7.0000000000000007E-2</c:v>
                </c:pt>
                <c:pt idx="4">
                  <c:v>0.14000000000000001</c:v>
                </c:pt>
                <c:pt idx="5">
                  <c:v>0.14000000000000001</c:v>
                </c:pt>
                <c:pt idx="6">
                  <c:v>0.06</c:v>
                </c:pt>
                <c:pt idx="7">
                  <c:v>0.11</c:v>
                </c:pt>
                <c:pt idx="8">
                  <c:v>0.19</c:v>
                </c:pt>
                <c:pt idx="9">
                  <c:v>0.03</c:v>
                </c:pt>
                <c:pt idx="10">
                  <c:v>0.45</c:v>
                </c:pt>
                <c:pt idx="11">
                  <c:v>0.03</c:v>
                </c:pt>
                <c:pt idx="12">
                  <c:v>0.11</c:v>
                </c:pt>
                <c:pt idx="13">
                  <c:v>0.02</c:v>
                </c:pt>
                <c:pt idx="14">
                  <c:v>0.14000000000000001</c:v>
                </c:pt>
                <c:pt idx="15">
                  <c:v>0.04</c:v>
                </c:pt>
                <c:pt idx="16">
                  <c:v>0.35</c:v>
                </c:pt>
                <c:pt idx="17">
                  <c:v>0.1</c:v>
                </c:pt>
                <c:pt idx="18">
                  <c:v>0.12</c:v>
                </c:pt>
                <c:pt idx="19">
                  <c:v>0.04</c:v>
                </c:pt>
                <c:pt idx="20">
                  <c:v>0.39</c:v>
                </c:pt>
                <c:pt idx="21">
                  <c:v>0.01</c:v>
                </c:pt>
                <c:pt idx="22">
                  <c:v>0.47</c:v>
                </c:pt>
                <c:pt idx="23">
                  <c:v>0.47</c:v>
                </c:pt>
                <c:pt idx="24">
                  <c:v>0.39</c:v>
                </c:pt>
                <c:pt idx="25">
                  <c:v>0.46</c:v>
                </c:pt>
                <c:pt idx="26">
                  <c:v>0.54</c:v>
                </c:pt>
                <c:pt idx="27">
                  <c:v>0.28999999999999998</c:v>
                </c:pt>
                <c:pt idx="28">
                  <c:v>0.03</c:v>
                </c:pt>
                <c:pt idx="29">
                  <c:v>0.01</c:v>
                </c:pt>
                <c:pt idx="30">
                  <c:v>0.09</c:v>
                </c:pt>
                <c:pt idx="31">
                  <c:v>0.45</c:v>
                </c:pt>
                <c:pt idx="32">
                  <c:v>0.65</c:v>
                </c:pt>
                <c:pt idx="33">
                  <c:v>0.4</c:v>
                </c:pt>
                <c:pt idx="34">
                  <c:v>0.39</c:v>
                </c:pt>
                <c:pt idx="35">
                  <c:v>0.1</c:v>
                </c:pt>
                <c:pt idx="36">
                  <c:v>0.09</c:v>
                </c:pt>
                <c:pt idx="37">
                  <c:v>0.11</c:v>
                </c:pt>
                <c:pt idx="38">
                  <c:v>0.03</c:v>
                </c:pt>
                <c:pt idx="39">
                  <c:v>0.2</c:v>
                </c:pt>
                <c:pt idx="40">
                  <c:v>0.12</c:v>
                </c:pt>
                <c:pt idx="41">
                  <c:v>0.01</c:v>
                </c:pt>
                <c:pt idx="42">
                  <c:v>0.04</c:v>
                </c:pt>
                <c:pt idx="43">
                  <c:v>0.66</c:v>
                </c:pt>
                <c:pt idx="44">
                  <c:v>0.36</c:v>
                </c:pt>
                <c:pt idx="45">
                  <c:v>0.11</c:v>
                </c:pt>
                <c:pt idx="46">
                  <c:v>0.28000000000000003</c:v>
                </c:pt>
                <c:pt idx="47">
                  <c:v>0.12</c:v>
                </c:pt>
                <c:pt idx="48">
                  <c:v>0.54</c:v>
                </c:pt>
                <c:pt idx="49">
                  <c:v>0.26</c:v>
                </c:pt>
                <c:pt idx="50">
                  <c:v>0.08</c:v>
                </c:pt>
                <c:pt idx="51">
                  <c:v>0.18</c:v>
                </c:pt>
                <c:pt idx="52">
                  <c:v>0.16</c:v>
                </c:pt>
                <c:pt idx="53">
                  <c:v>0.14000000000000001</c:v>
                </c:pt>
                <c:pt idx="54">
                  <c:v>0.57999999999999996</c:v>
                </c:pt>
                <c:pt idx="55">
                  <c:v>0.08</c:v>
                </c:pt>
                <c:pt idx="56">
                  <c:v>0.01</c:v>
                </c:pt>
              </c:numCache>
            </c:numRef>
          </c:xVal>
          <c:yVal>
            <c:numRef>
              <c:f>Sheet1!$B$2:$B$58</c:f>
              <c:numCache>
                <c:formatCode>General</c:formatCode>
                <c:ptCount val="57"/>
                <c:pt idx="0">
                  <c:v>1.312053273286643</c:v>
                </c:pt>
                <c:pt idx="1">
                  <c:v>0.67602970542929453</c:v>
                </c:pt>
                <c:pt idx="2">
                  <c:v>0.28036068611811321</c:v>
                </c:pt>
                <c:pt idx="3">
                  <c:v>2.322914669885693E-2</c:v>
                </c:pt>
                <c:pt idx="4">
                  <c:v>1.15044401511685</c:v>
                </c:pt>
                <c:pt idx="5">
                  <c:v>0.45428332366686403</c:v>
                </c:pt>
                <c:pt idx="6">
                  <c:v>0.45219100593391298</c:v>
                </c:pt>
                <c:pt idx="7">
                  <c:v>8.8637819366076523E-2</c:v>
                </c:pt>
                <c:pt idx="8">
                  <c:v>1.313920192130057</c:v>
                </c:pt>
                <c:pt idx="9">
                  <c:v>0.15600012891003129</c:v>
                </c:pt>
                <c:pt idx="10">
                  <c:v>1.2051359733489531</c:v>
                </c:pt>
                <c:pt idx="11">
                  <c:v>5.2758507112676142E-2</c:v>
                </c:pt>
                <c:pt idx="12">
                  <c:v>0.2181542191916945</c:v>
                </c:pt>
                <c:pt idx="13">
                  <c:v>0</c:v>
                </c:pt>
                <c:pt idx="14">
                  <c:v>0.31284334569805361</c:v>
                </c:pt>
                <c:pt idx="15">
                  <c:v>0</c:v>
                </c:pt>
                <c:pt idx="16">
                  <c:v>0.37892159394589803</c:v>
                </c:pt>
                <c:pt idx="17">
                  <c:v>0.51540924912371144</c:v>
                </c:pt>
                <c:pt idx="18">
                  <c:v>0</c:v>
                </c:pt>
                <c:pt idx="19">
                  <c:v>2.5617209633611041E-2</c:v>
                </c:pt>
                <c:pt idx="20">
                  <c:v>0.60985348269802508</c:v>
                </c:pt>
                <c:pt idx="21">
                  <c:v>0</c:v>
                </c:pt>
                <c:pt idx="22">
                  <c:v>0.98571760573774991</c:v>
                </c:pt>
                <c:pt idx="23">
                  <c:v>1.2512478823607049</c:v>
                </c:pt>
                <c:pt idx="24">
                  <c:v>0.34438555153868777</c:v>
                </c:pt>
                <c:pt idx="25">
                  <c:v>0.95133552575640024</c:v>
                </c:pt>
                <c:pt idx="26">
                  <c:v>1.7794925098213989</c:v>
                </c:pt>
                <c:pt idx="27">
                  <c:v>0</c:v>
                </c:pt>
                <c:pt idx="28">
                  <c:v>0</c:v>
                </c:pt>
                <c:pt idx="29">
                  <c:v>0</c:v>
                </c:pt>
                <c:pt idx="30">
                  <c:v>0</c:v>
                </c:pt>
                <c:pt idx="31">
                  <c:v>0.39685483890510381</c:v>
                </c:pt>
                <c:pt idx="32">
                  <c:v>2.2987878695261892</c:v>
                </c:pt>
                <c:pt idx="33">
                  <c:v>0.53310328427430254</c:v>
                </c:pt>
                <c:pt idx="34">
                  <c:v>0.86440057806425596</c:v>
                </c:pt>
                <c:pt idx="35">
                  <c:v>2.1416509932592909E-3</c:v>
                </c:pt>
                <c:pt idx="36">
                  <c:v>0</c:v>
                </c:pt>
                <c:pt idx="37">
                  <c:v>0</c:v>
                </c:pt>
                <c:pt idx="38">
                  <c:v>0</c:v>
                </c:pt>
                <c:pt idx="39">
                  <c:v>0.44487523013291641</c:v>
                </c:pt>
                <c:pt idx="40">
                  <c:v>0</c:v>
                </c:pt>
                <c:pt idx="41">
                  <c:v>0</c:v>
                </c:pt>
                <c:pt idx="42">
                  <c:v>0</c:v>
                </c:pt>
                <c:pt idx="43">
                  <c:v>2.62605457765184</c:v>
                </c:pt>
                <c:pt idx="44">
                  <c:v>0</c:v>
                </c:pt>
                <c:pt idx="45">
                  <c:v>0</c:v>
                </c:pt>
                <c:pt idx="46">
                  <c:v>0</c:v>
                </c:pt>
                <c:pt idx="47">
                  <c:v>0</c:v>
                </c:pt>
                <c:pt idx="48">
                  <c:v>0.47877352484274333</c:v>
                </c:pt>
                <c:pt idx="49">
                  <c:v>0</c:v>
                </c:pt>
                <c:pt idx="50">
                  <c:v>0</c:v>
                </c:pt>
                <c:pt idx="51">
                  <c:v>0</c:v>
                </c:pt>
                <c:pt idx="52">
                  <c:v>0</c:v>
                </c:pt>
                <c:pt idx="53">
                  <c:v>0</c:v>
                </c:pt>
                <c:pt idx="54">
                  <c:v>0.7357053867086325</c:v>
                </c:pt>
                <c:pt idx="55">
                  <c:v>0</c:v>
                </c:pt>
                <c:pt idx="56">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BIC FLEX 5 HYBRID BLACK WHITE HOLIDAY GIFT PACK 5 BLADE HYBRID NORMAL 7CT</c:v>
                  </c:pt>
                  <c:pt idx="7">
                    <c:v>HYDRO 5 SENSITIVE 5 BLADE REFILL SENSITIVE 12CT</c:v>
                  </c:pt>
                  <c:pt idx="8">
                    <c:v>GILLETTE LABS ARCTIC CAMO HOLIDAY GIFT PACK 5 BLADE RAZOR NORMAL 2CT</c:v>
                  </c:pt>
                  <c:pt idx="9">
                    <c:v>DOLLAR SHAVE CLUB BLACK 6 BLADE RAZOR NORMAL 2CT</c:v>
                  </c:pt>
                  <c:pt idx="10">
                    <c:v>GILLETTE FUSION 5 PROGLIDE 5 BLADE RAZOR NORMAL 4CT</c:v>
                  </c:pt>
                  <c:pt idx="11">
                    <c:v>DOLLAR SHAVE CLUB 6 BLADE REFILL NORMAL 4CT</c:v>
                  </c:pt>
                  <c:pt idx="12">
                    <c:v>BIC COMFORT 3 HYBRID 3 BLADE HYBRID SENSITIVE 6CT</c:v>
                  </c:pt>
                  <c:pt idx="13">
                    <c:v>GILLETTE FUSION 5 5 BLADE RAZOR NORMAL 5CT</c:v>
                  </c:pt>
                  <c:pt idx="14">
                    <c:v>GILLETTE LABS 5 BLADE RAZOR NORMAL 1CT</c:v>
                  </c:pt>
                  <c:pt idx="15">
                    <c:v>GILLETTE FUSION 5 5 BLADE REFILL NORMAL 8CT</c:v>
                  </c:pt>
                  <c:pt idx="16">
                    <c:v>GILLETTE MACH 3 3 BLADE REFILL NORMAL 12CT</c:v>
                  </c:pt>
                  <c:pt idx="17">
                    <c:v>GILLETTE LABS 5 BLADE REFILL NORMAL 6CT</c:v>
                  </c:pt>
                  <c:pt idx="18">
                    <c:v>HYDRO 5 SENSITIVE 5 BLADE RAZOR SENSITIVE 3CT</c:v>
                  </c:pt>
                  <c:pt idx="19">
                    <c:v>DOLLAR SHAVE CLUB 6 BLADE REFILL NORMAL 8CT</c:v>
                  </c:pt>
                  <c:pt idx="20">
                    <c:v>GILLETTE FUSION 5 5 BLADE RAZOR NORMAL 1CT</c:v>
                  </c:pt>
                  <c:pt idx="21">
                    <c:v>HARRY'S 5 BLADE REFILL NORMAL 4CT</c:v>
                  </c:pt>
                  <c:pt idx="22">
                    <c:v>GILLETTE LABS 5 BLADE RAZOR NORMAL 4CT</c:v>
                  </c:pt>
                  <c:pt idx="23">
                    <c:v>GILLETTE FUSION 5 PROSHIELD GRAY 5 BLADE RAZOR NORMAL 2CT</c:v>
                  </c:pt>
                  <c:pt idx="24">
                    <c:v>EQUATE EASY FIT 5 5 BLADE REFILL NORMAL 8CT</c:v>
                  </c:pt>
                  <c:pt idx="25">
                    <c:v>GILLETTE LABS 5 BLADE RAZOR NORMAL 2CT</c:v>
                  </c:pt>
                  <c:pt idx="26">
                    <c:v>GILLETTE FUSION 5 PROGLIDE STYLER REM BLADES RAZOR 1CT</c:v>
                  </c:pt>
                  <c:pt idx="27">
                    <c:v>GILLETTE MACH 3 3 BLADE RAZOR NORMAL 2CT</c:v>
                  </c:pt>
                  <c:pt idx="28">
                    <c:v>GILLETTE FUSION 5 5 BLADE RAZOR NORMAL 2CT</c:v>
                  </c:pt>
                  <c:pt idx="29">
                    <c:v>BIC FLEX 5 HYBRID 5 BLADE HYBRID NORMAL 4CT</c:v>
                  </c:pt>
                  <c:pt idx="30">
                    <c:v>GILLETTE FUSION 5 5 BLADE RAZOR NORMAL 7CT</c:v>
                  </c:pt>
                  <c:pt idx="31">
                    <c:v>GILLETTE FUSION 5 PROGLIDE 5 BLADE RAZOR NORMAL 1CT</c:v>
                  </c:pt>
                  <c:pt idx="32">
                    <c:v>GILLETTE INTIMATE BLACK 5 BLADE RAZOR NORMAL 2CT</c:v>
                  </c:pt>
                  <c:pt idx="33">
                    <c:v>BIC EASYRINSE 4 BLADE HYBRID NORMAL 3CT</c:v>
                  </c:pt>
                  <c:pt idx="34">
                    <c:v>GILLETTE FUSION 5 PROGLIDE 5 BLADE RAZOR NORMAL 2CT</c:v>
                  </c:pt>
                  <c:pt idx="35">
                    <c:v>EQUATE EASY FIT 5 5 BLADE REFILL NORMAL 4CT</c:v>
                  </c:pt>
                  <c:pt idx="36">
                    <c:v>HARRY'S 5 BLADE REFILL NORMAL 8CT</c:v>
                  </c:pt>
                  <c:pt idx="37">
                    <c:v>GILLETTE MACH 3 3 BLADE REFILL NORMAL 8CT</c:v>
                  </c:pt>
                  <c:pt idx="38">
                    <c:v>HARRY'S SURF BLUE 5 BLADE RAZOR NORMAL 2CT</c:v>
                  </c:pt>
                  <c:pt idx="39">
                    <c:v>EQUATE EASY FIT 5 5 BLADE REFILL NORMAL 12CT</c:v>
                  </c:pt>
                  <c:pt idx="40">
                    <c:v>EQUATE EASY FIT 5 5 BLADE RAZOR NORMAL 2CT</c:v>
                  </c:pt>
                  <c:pt idx="41">
                    <c:v>HARRY'S SILVER 5 BLADE RAZOR NORMAL 5CT</c:v>
                  </c:pt>
                  <c:pt idx="42">
                    <c:v>GILLETTE FUSION 5 5 BLADE REFILL NORMAL 4CT</c:v>
                  </c:pt>
                  <c:pt idx="43">
                    <c:v>GILLETTE INTIMATE 5 BLADE REFILL NORMAL 4CT</c:v>
                  </c:pt>
                  <c:pt idx="44">
                    <c:v>BIC FLEX 5 HYBRID 5 BLADE HYBRID NORMAL 12CT</c:v>
                  </c:pt>
                  <c:pt idx="45">
                    <c:v>BIC FLEX 5 HYBRID 5 BLADE HYBRID NORMAL 7CT</c:v>
                  </c:pt>
                  <c:pt idx="46">
                    <c:v>GILLETTE FUSION 5 5 BLADE REFILL NORMAL 12CT</c:v>
                  </c:pt>
                  <c:pt idx="47">
                    <c:v>HARRY'S 5 BLADE REFILL NORMAL 12CT</c:v>
                  </c:pt>
                  <c:pt idx="48">
                    <c:v>GILLETTE SKINGUARD 2 BLADE REFILL SENSITIVE 8CT</c:v>
                  </c:pt>
                  <c:pt idx="49">
                    <c:v>BIC COMFORT 3 HYBRID 3 BLADE HYBRID NORMAL 1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A9348623-6885-4E2D-95A9-BC4AA82105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9BA96F31-504F-41E6-B486-22450EE912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881422B4-7EB1-408A-A793-86AEB8B4D5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391FEF9E-1723-4EBC-9F11-99EF71DE2B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6FB90431-1A14-4B2F-BCE4-2E52058AD9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2D2505E3-C78C-43AE-826C-93CE3D0A0D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39D93B52-9104-4503-984A-50B4E71024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FA1B668A-983F-44D1-ABA2-B4E8A77AAF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01123FDB-99AE-471A-9895-B7B72530FC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7FBDE0E5-1B39-4F21-AA4C-C30CB0589A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13757A49-8DB3-4FC4-8105-FE1898FB0A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C64F9E1D-45A4-42F0-912F-7651E1AD73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7A3ECD18-87DB-4FC1-809F-FE53BE21D1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0535A9ED-AD75-46C2-9EE3-302FE59850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1A5AC722-56CA-470E-978E-E327087F24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AC60E283-9D1E-45B3-9970-75FE9D7F93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D50516BE-B607-489D-9EF6-CB69DE6A67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FA53D1D5-BB0B-4FF4-8AB7-0AFFC52D89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27B04FF5-6CA7-4554-8614-C057296140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D7158693-7EAE-4B7D-9590-7C3C1D1BEE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11016115-47DB-406E-AA3D-7FE083B0A5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E6384233-CD29-43C3-954A-4F186FEDD2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7B2C7F69-0527-403F-8D2C-081ABFB18D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0C5D7A7D-55BA-4EF5-9CE6-79D082D804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EE8D4960-1F2F-4469-9EBC-9A301C2C5B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A8645E3A-C3A2-4C59-9178-8CC6DE3750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AA4A0BD8-85A7-45A7-811C-BEB4555627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45D860FB-EFDE-4380-9B6B-E9025CCE00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A74DA654-F9AD-4BB6-BFA2-7B7ECC910A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8519A460-5AAE-4963-8591-1A6B97B4C8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077BF348-C831-4B57-9C6B-D40356D18C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1A199FD8-D470-411E-9DD8-D2F42A1F02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11D07721-D3DA-44A1-9666-178F00D68D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8292D8AD-9027-4A8D-9212-6F68C6525B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571C61B1-93AA-41B6-86A4-7F61F9E5F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DE72848B-A6DD-4971-892B-C00FCE5894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C11119FF-6915-488A-9C14-E96B0E05B5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8C59E279-399C-4E6E-82F4-0EB2141570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04BDFC8F-1EB6-46A8-BF33-0431FAF0DE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3BC9223A-4F94-45A2-93EA-5BE4CB0022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6AF7392E-A096-4DD6-AB27-1C6C09A791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ABB39046-B89E-4DF6-8D30-8538ED7F91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EFE131D9-0F53-4D57-BA0E-C7CD22E5C7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E22E2AB1-A1D4-40DB-8E99-850189EC31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EA1A347F-AC6A-43DC-9A72-50B35A9CEB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8ACB29A4-09D2-4717-AFD7-F26B0AE19E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656CA533-ACF8-40B6-A14F-047D12BA5D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8EC5063D-3B13-4811-96F5-70B4DC83B3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3BC73E7-4B66-4D75-BCFF-0269559785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E781BE06-31E4-4D17-A74B-E06F349B0B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342DA42E-4D27-47E5-8625-1B71DE170C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53963BF6-7544-4ED7-98AB-8EBFC19CA8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082DEC63-8039-48C8-A1EC-79946F7481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1BC09669-5728-462F-B1D0-53BD85A86DF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963A7F56-97A4-41D5-AA67-B2B4589FEE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7EB5A4D9-2948-40B2-AC3D-F1BF9DB984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11D9075B-38C8-4FE8-9E7A-05281A3A5B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DA16BEA1-D1F2-4B59-8D13-3DD318427E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B33C195E-F486-4AD9-BD3A-FB65D2557F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F5E27475-B969-4ED5-85D9-31799F558D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599B8D0-E6A6-4E25-B514-0E03B6187F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A30AB0DF-2280-49C3-92AC-A625954CA6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81FBF696-4CBD-4DB2-B20D-779FC57075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5E1252C4-6346-43F1-B643-63A146687C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8</c:v>
                </c:pt>
                <c:pt idx="2">
                  <c:v>0.11</c:v>
                </c:pt>
                <c:pt idx="3">
                  <c:v>0.14000000000000001</c:v>
                </c:pt>
                <c:pt idx="4">
                  <c:v>0.14000000000000001</c:v>
                </c:pt>
                <c:pt idx="5">
                  <c:v>0.19</c:v>
                </c:pt>
                <c:pt idx="6">
                  <c:v>0.17</c:v>
                </c:pt>
              </c:numCache>
            </c:numRef>
          </c:xVal>
          <c:yVal>
            <c:numRef>
              <c:f>Sheet1!$B$2:$B$8</c:f>
              <c:numCache>
                <c:formatCode>General</c:formatCode>
                <c:ptCount val="7"/>
                <c:pt idx="0">
                  <c:v>0.36276214714860788</c:v>
                </c:pt>
                <c:pt idx="1">
                  <c:v>0.57638357247666683</c:v>
                </c:pt>
                <c:pt idx="2">
                  <c:v>0.64004334794386986</c:v>
                </c:pt>
                <c:pt idx="3">
                  <c:v>4.4079737091422273E-2</c:v>
                </c:pt>
                <c:pt idx="4">
                  <c:v>0.4457406191728599</c:v>
                </c:pt>
                <c:pt idx="5">
                  <c:v>0.6815896641199366</c:v>
                </c:pt>
                <c:pt idx="6">
                  <c:v>0.27030795344325897</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79075969439239"/>
          <c:min val="3.526378967313782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2AA013B3-D84A-453E-B9B6-44C243C6E2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BE72B724-AB63-4984-8757-52F8866E4F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B8C7CCDC-E67E-45BA-883D-5DF9F56E01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6AA0C20-8386-4C61-9A75-1FAB5B9D29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2527547C-5C8F-4EF7-AA30-E435EB6E10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37383A40-D731-44E6-84D4-A10FBDA3F8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B5EB9D95-226D-4892-B247-0A709F7C12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12D185A7-1809-4B34-A422-A3A7D2E8EC2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61E866C1-F235-4961-93D9-50364F5EB8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2D6C8822-40E5-4D55-A1A4-AF00D9715B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C69FE438-D9F9-459B-B3B3-05CCC0DDE9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FD12A2C5-004B-4990-A6F6-75601969EC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39D4AE01-0E9C-412B-8B82-5EEE606B1B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C1A04E37-6EC5-4871-8DEC-2BC3527191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54E846A3-CDF3-4039-970D-E25D1D1317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92442494-7AC3-4810-9973-3C1575BE3C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3FA4EAC2-3E33-4152-8FAD-166AAC5732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10BD0127-164B-4F87-9F45-7ED46E3A5A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B0EF00B4-F30F-4E0E-9B38-26FE1122C4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12F22652-44A5-405F-B85B-EB40807DB0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53D31B72-9171-4957-9D68-9525313F5D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1C7396C-7DEE-4FFB-BE86-6E9F20891E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1539DA11-AF5D-4F74-A36A-3C944525DE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91679313854690692</c:v>
                </c:pt>
                <c:pt idx="1">
                  <c:v>0.36596438157955558</c:v>
                </c:pt>
                <c:pt idx="2">
                  <c:v>0.24607902091034181</c:v>
                </c:pt>
                <c:pt idx="3">
                  <c:v>0</c:v>
                </c:pt>
                <c:pt idx="4">
                  <c:v>0.20391858358753209</c:v>
                </c:pt>
                <c:pt idx="5">
                  <c:v>0</c:v>
                </c:pt>
                <c:pt idx="6">
                  <c:v>0</c:v>
                </c:pt>
                <c:pt idx="7">
                  <c:v>0</c:v>
                </c:pt>
                <c:pt idx="8">
                  <c:v>9.6810902583398334E-2</c:v>
                </c:pt>
                <c:pt idx="9">
                  <c:v>0</c:v>
                </c:pt>
                <c:pt idx="10">
                  <c:v>2.2922743831121171</c:v>
                </c:pt>
                <c:pt idx="11">
                  <c:v>0</c:v>
                </c:pt>
                <c:pt idx="12">
                  <c:v>5.5183946488294312E-2</c:v>
                </c:pt>
                <c:pt idx="13">
                  <c:v>6.0135664931825483E-2</c:v>
                </c:pt>
                <c:pt idx="14">
                  <c:v>0.92898913951545525</c:v>
                </c:pt>
                <c:pt idx="15">
                  <c:v>0</c:v>
                </c:pt>
                <c:pt idx="16">
                  <c:v>-0.19122701483892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7292597345399"/>
          <c:min val="-0.15298161187113679"/>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AD150859-794E-42FB-90BB-81A0C38AA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B1896D5E-39C4-46B8-A40D-972AA1F9DE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FA4F40D3-87E7-4AB3-848F-29C0086F03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F23CE331-D7D8-4F3C-9483-D007D35C21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B3796A4B-E2C1-494D-A6BE-F958BAB970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9FC27367-0AFA-4A48-92ED-7D26EF5504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15B12393-E9CA-43D6-A45C-063981B935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BB0071D8-A51E-4458-960C-EE82757048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28604B41-EBE1-4764-95E9-E0992B58D2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CB344FC5-4B21-4746-93A8-D3E1116832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69C140C3-A97D-49A9-B94C-70F0E249EE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3057FA0F-18C3-4B80-8AB3-A5859ED521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DCC9004B-B9E7-49E7-8E95-2FA57B4EEC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B81A7940-B918-4579-8C4F-5B4A77C85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BAA3AFA-0F4C-4C92-A361-0B9A3D7201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535A2E96-8140-4957-8C6E-066951F9C4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BF43F4F7-8D10-47A6-8904-76548807FE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0A950449-FC13-4BB4-A3B8-CCC1F9E5BE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87019A05-4BD6-4CA0-99DA-ED3A8DFF28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C149405B-D96B-4C14-897A-C6A8FAE49B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467D7209-1C3A-4DB2-BA14-86BBD484D0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1D70D0D5-F382-4F87-BEA1-85A37BD40A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1CE195CC-0819-4E36-A731-DB0073C1A0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FCEAD4D9-AD0F-4851-9614-631F054F6E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C4B4EA53-4974-4239-A19D-262543899C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B5C8013E-FE06-496D-A943-9B6D79DC3C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66095D05-23B7-47C1-94A5-C7CC2E41BD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1E25038-46BD-4091-9FCD-D016467E43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D1182483-123B-42A4-B94D-921A9D8957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9522D7BE-53C5-4D22-A6A5-E8F3B6DCA2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57D863CF-64F0-43FC-B350-AE008C80A0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287402E7-BD8A-4D16-B989-B1FAFD43FC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66AD377-6EBC-4E71-83D1-666A66DD31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F018C21C-72DE-4EDC-8D13-11F0A61FE6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F4B40E70-1298-4079-A69A-8110B84671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A119F669-5A0E-4E54-AF66-2A0566B715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88A854C0-B334-4D66-B05E-758D3560F6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F5E5817E-1667-4672-B606-1F98E428C5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027139D8-35D0-4B87-82C2-3A01A03B9E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346F2496-6333-49E3-B91E-C5D601FD50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F268D3A1-00CE-45FF-9819-0266191077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E35E9751-9B06-4D1F-9C6B-9E4813EE6E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50C66E39-6B59-4FCE-BB62-9B50E415D1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9</c:v>
                </c:pt>
                <c:pt idx="1">
                  <c:v>0.16</c:v>
                </c:pt>
                <c:pt idx="2">
                  <c:v>0.15</c:v>
                </c:pt>
                <c:pt idx="3">
                  <c:v>0.63</c:v>
                </c:pt>
                <c:pt idx="4">
                  <c:v>0.18</c:v>
                </c:pt>
              </c:numCache>
            </c:numRef>
          </c:xVal>
          <c:yVal>
            <c:numRef>
              <c:f>Sheet1!$B$2:$B$6</c:f>
              <c:numCache>
                <c:formatCode>General</c:formatCode>
                <c:ptCount val="5"/>
                <c:pt idx="0">
                  <c:v>0.23920180796808771</c:v>
                </c:pt>
                <c:pt idx="1">
                  <c:v>0.57084878338506662</c:v>
                </c:pt>
                <c:pt idx="2">
                  <c:v>0.81179470441236323</c:v>
                </c:pt>
                <c:pt idx="3">
                  <c:v>0.83772084414568115</c:v>
                </c:pt>
                <c:pt idx="4">
                  <c:v>1.5836045021710721</c:v>
                </c:pt>
              </c:numCache>
            </c:numRef>
          </c:yVal>
          <c:smooth val="0"/>
          <c:extLst>
            <c:ext xmlns:c15="http://schemas.microsoft.com/office/drawing/2012/chart" uri="{02D57815-91ED-43cb-92C2-25804820EDAC}">
              <c15:datalabelsRange>
                <c15:f>Sheet1!$E$2:$E$51</c15:f>
                <c15:dlblRangeCache>
                  <c:ptCount val="50"/>
                  <c:pt idx="0">
                    <c:v>GILLETTE FUSION 5 PROGLIDE 5 BLADE RAZOR NORMAL 13CT</c:v>
                  </c:pt>
                  <c:pt idx="1">
                    <c:v>GILLETTE FUSION 5 5 BLADE RAZOR NORMAL 9CT</c:v>
                  </c:pt>
                  <c:pt idx="2">
                    <c:v>HARRY'S ORANGE 5 BLADE RAZOR NORMAL 11CT</c:v>
                  </c:pt>
                  <c:pt idx="3">
                    <c:v>GILLETTE INTIMATE BLACK 5 BLADE RAZOR 9CT</c:v>
                  </c:pt>
                  <c:pt idx="4">
                    <c:v>GILLETTE LABS 5 BLADE RAZOR NORMAL 6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9003254026052858"/>
          <c:min val="0.19136144637447017"/>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1233410174915606</c:v>
                </c:pt>
                <c:pt idx="1">
                  <c:v>20.833702869625981</c:v>
                </c:pt>
                <c:pt idx="2">
                  <c:v>2.0855384269140949</c:v>
                </c:pt>
                <c:pt idx="3">
                  <c:v>-0.7943759315237866</c:v>
                </c:pt>
                <c:pt idx="4">
                  <c:v>-0.96615568323059575</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768C919A-E49A-4B9C-B5AA-5BBEC9D86D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34B38041-97C4-470E-93CA-B41FE8CCAA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1D84F808-8EFE-46F1-B431-5E2C55A098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4299134B-1ED9-4290-8A71-E647046EF4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402FD2A4-D1F7-469A-A18A-47516BE37B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B0173E71-81DB-4B4F-BE84-F259E02BC6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971D58A6-73CB-4BBA-9636-C1A0262FC0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14A12FFA-4A0B-4BD8-A4DF-1C9BBE2C2A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466CBE75-B108-418D-8B9B-CEF9FD0F41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068DB277-EF64-4BBF-986E-F42A7DA382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BCE4D4B4-7F20-4501-92DC-43016A2AC7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315F41CB-CE2A-40EC-A872-3D470B883E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167190ED-F65E-4A80-92EE-13874C70F2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259E5887-38A0-4DA8-A3D7-4426B7A94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B72CA4B-44D9-45E8-A1DB-63DBBE418E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299BCEC3-4A63-4D1D-AF9D-72882F980D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0CFB6439-58F5-4F64-B950-1E02F89CB2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6D10C835-6659-49F5-93C2-8DC21193AF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C39C890D-3E10-4B4B-9032-4570742DF0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91EA345F-20CD-4993-8261-526D1B5C62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E5DEB909-57DC-46EE-85B6-B1515AE726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359DB162-BAF7-4F31-BAF1-19BFAACACD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FE90F9EE-1AAE-41FD-AAEE-FF10416F46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6924D97-AB58-4E0B-A364-B28A4F5B54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BF1E0EED-3294-40BD-AAD6-DBEED028F4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BE30338E-EDF4-4863-BDFB-F3B31E8299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FC3827D0-0725-41B0-BFEB-BA2452E358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83200030-B328-4C0D-98B4-3CF80BA16B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9E75C851-FF88-4EC5-92E0-05C5BDE694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B80D78A7-CADD-420D-9573-96F4CABF60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AD5E44AE-52CC-4891-9381-C9A56F6E09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904E6466-6DA7-43BF-BBC8-0A9AC493EF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55B26181-A313-417C-B88D-0FD4ED966B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B39EA591-5F47-4716-B903-64193C1356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580A84BE-1F3E-4149-89B8-C11C5C726F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5A3D0814-F40D-4AB3-B38D-E8349C8BC9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00A12A73-FE83-4275-BC26-71543E29CD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F9D8ED18-0AB4-4D05-9409-03C71A98C8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1E162E38-AE75-4D22-A7C7-CFA706DF76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7E1C9AE4-E812-4C28-9A4A-4631DDE550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8298F0AA-175C-468F-A59E-E09BFBAC33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A1F469A9-9C20-467F-8BF1-9985207CA2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4B37FB52-8495-41BD-9D5A-05F77D79D7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c:v>
                </c:pt>
                <c:pt idx="1">
                  <c:v>0.1</c:v>
                </c:pt>
                <c:pt idx="2">
                  <c:v>0.15</c:v>
                </c:pt>
                <c:pt idx="3">
                  <c:v>0.32</c:v>
                </c:pt>
                <c:pt idx="4">
                  <c:v>0.09</c:v>
                </c:pt>
              </c:numCache>
            </c:numRef>
          </c:xVal>
          <c:yVal>
            <c:numRef>
              <c:f>Sheet1!$B$2:$B$6</c:f>
              <c:numCache>
                <c:formatCode>General</c:formatCode>
                <c:ptCount val="5"/>
                <c:pt idx="0">
                  <c:v>0.41971844948119458</c:v>
                </c:pt>
                <c:pt idx="1">
                  <c:v>0.32321333425762577</c:v>
                </c:pt>
                <c:pt idx="2">
                  <c:v>0.49380320527335569</c:v>
                </c:pt>
                <c:pt idx="3">
                  <c:v>0.883084064382609</c:v>
                </c:pt>
                <c:pt idx="4">
                  <c:v>7.4577739281074057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KINGUARD POWER 2 BLADE REFILL SENSITIVE 13CT</c:v>
                  </c:pt>
                  <c:pt idx="3">
                    <c:v>GILLETTE FUSION 5 PROGLIDE 5 BLADE REFILL NORMAL 15CT</c:v>
                  </c:pt>
                  <c:pt idx="4">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84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597008772591308"/>
          <c:min val="5.9662191424859248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HARRY'S ORANGE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GILLETTE SKINGUARD 2 BLADE RAZOR SENSITIVE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DOLLAR SHAVE CLUB RED BLUE WHITE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fld id="{17AB5250-C24C-460A-9F00-6D4CEB4601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322B04EE-5E4E-49F6-BB3E-1899986668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C42EE1E9-1D70-42C6-9649-283D776893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7FFF1BAA-2510-481A-AC4F-322B00E247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C51430D9-F5B7-44ED-A827-6C945B34EA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B1A2E5FD-ECD3-4556-ABC2-9CC39EAFCD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1EDB466C-08C0-48F5-87A6-8C623FCBCF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C4A652C7-5912-4168-A7F4-6DF8AEF73D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0A675EF6-0A35-419A-854C-87C6ADEC6F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3224904C-FCDC-45DC-ADE8-52CBA70052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B8E6D8B7-10EA-4916-915B-B460901122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A7BF1260-1F85-4B9C-9854-7EF65C77CB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1FFF81F3-5AEE-460A-87AF-EECF62A667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610BF672-35C1-4F63-A789-1959E23296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E6FDF7BB-8921-45E9-BCF7-3EF3F0F1CC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FDE14CED-932C-4A0C-8266-9DA340A392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0F3766C1-1B2D-4208-89E5-FB6CF4D9D8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8DF35F7C-912A-4C38-8B44-84D3A2709D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E8E03338-B924-4D82-A1A7-1BCE39B59E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422D1701-9E91-4B6F-A498-5E8FAC8A43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4D8D2D86-FDE4-4E4A-88C7-B181FA26F3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9F707DB1-486B-4EEC-A283-F00C471506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7</c:f>
              <c:numCache>
                <c:formatCode>General</c:formatCode>
                <c:ptCount val="26"/>
                <c:pt idx="0">
                  <c:v>0.16</c:v>
                </c:pt>
                <c:pt idx="1">
                  <c:v>0.14000000000000001</c:v>
                </c:pt>
                <c:pt idx="2">
                  <c:v>0.19</c:v>
                </c:pt>
                <c:pt idx="3">
                  <c:v>0.03</c:v>
                </c:pt>
                <c:pt idx="4">
                  <c:v>0.45</c:v>
                </c:pt>
                <c:pt idx="5">
                  <c:v>0.02</c:v>
                </c:pt>
                <c:pt idx="6">
                  <c:v>0.14000000000000001</c:v>
                </c:pt>
                <c:pt idx="7">
                  <c:v>0.12</c:v>
                </c:pt>
                <c:pt idx="8">
                  <c:v>0.39</c:v>
                </c:pt>
                <c:pt idx="9">
                  <c:v>0.47</c:v>
                </c:pt>
                <c:pt idx="10">
                  <c:v>0.47</c:v>
                </c:pt>
                <c:pt idx="11">
                  <c:v>0.46</c:v>
                </c:pt>
                <c:pt idx="12">
                  <c:v>0.54</c:v>
                </c:pt>
                <c:pt idx="13">
                  <c:v>0.28999999999999998</c:v>
                </c:pt>
                <c:pt idx="14">
                  <c:v>0.03</c:v>
                </c:pt>
                <c:pt idx="15">
                  <c:v>0.09</c:v>
                </c:pt>
                <c:pt idx="16">
                  <c:v>0.45</c:v>
                </c:pt>
                <c:pt idx="17">
                  <c:v>0.65</c:v>
                </c:pt>
                <c:pt idx="18">
                  <c:v>0.39</c:v>
                </c:pt>
                <c:pt idx="19">
                  <c:v>0.03</c:v>
                </c:pt>
                <c:pt idx="20">
                  <c:v>0.12</c:v>
                </c:pt>
                <c:pt idx="21">
                  <c:v>0.01</c:v>
                </c:pt>
                <c:pt idx="22">
                  <c:v>0.16</c:v>
                </c:pt>
                <c:pt idx="23">
                  <c:v>0.14000000000000001</c:v>
                </c:pt>
                <c:pt idx="24">
                  <c:v>0.08</c:v>
                </c:pt>
                <c:pt idx="25">
                  <c:v>0.01</c:v>
                </c:pt>
              </c:numCache>
            </c:numRef>
          </c:xVal>
          <c:yVal>
            <c:numRef>
              <c:f>Sheet1!$B$2:$B$27</c:f>
              <c:numCache>
                <c:formatCode>General</c:formatCode>
                <c:ptCount val="26"/>
                <c:pt idx="0">
                  <c:v>1.312053273286643</c:v>
                </c:pt>
                <c:pt idx="1">
                  <c:v>1.15044401511685</c:v>
                </c:pt>
                <c:pt idx="2">
                  <c:v>1.313920192130057</c:v>
                </c:pt>
                <c:pt idx="3">
                  <c:v>0.15600012891003129</c:v>
                </c:pt>
                <c:pt idx="4">
                  <c:v>1.2051359733489531</c:v>
                </c:pt>
                <c:pt idx="5">
                  <c:v>0</c:v>
                </c:pt>
                <c:pt idx="6">
                  <c:v>0.31284334569805361</c:v>
                </c:pt>
                <c:pt idx="7">
                  <c:v>0</c:v>
                </c:pt>
                <c:pt idx="8">
                  <c:v>0.60985348269802508</c:v>
                </c:pt>
                <c:pt idx="9">
                  <c:v>0.98571760573774991</c:v>
                </c:pt>
                <c:pt idx="10">
                  <c:v>1.2512478823607049</c:v>
                </c:pt>
                <c:pt idx="11">
                  <c:v>0.95133552575640024</c:v>
                </c:pt>
                <c:pt idx="12">
                  <c:v>1.7794925098213989</c:v>
                </c:pt>
                <c:pt idx="13">
                  <c:v>0</c:v>
                </c:pt>
                <c:pt idx="14">
                  <c:v>0</c:v>
                </c:pt>
                <c:pt idx="15">
                  <c:v>0</c:v>
                </c:pt>
                <c:pt idx="16">
                  <c:v>0.39685483890510381</c:v>
                </c:pt>
                <c:pt idx="17">
                  <c:v>2.2987878695261892</c:v>
                </c:pt>
                <c:pt idx="18">
                  <c:v>0.86440057806425596</c:v>
                </c:pt>
                <c:pt idx="19">
                  <c:v>0</c:v>
                </c:pt>
                <c:pt idx="20">
                  <c:v>0</c:v>
                </c:pt>
                <c:pt idx="21">
                  <c:v>0</c:v>
                </c:pt>
                <c:pt idx="22">
                  <c:v>0</c:v>
                </c:pt>
                <c:pt idx="23">
                  <c:v>0</c:v>
                </c:pt>
                <c:pt idx="24">
                  <c:v>0</c:v>
                </c:pt>
                <c:pt idx="25">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HYDRO 5 SENSITIVE GRAY HOLIDAY GIFT PACK 5 BLADE RAZOR SENSITIVE 3CT</c:v>
                  </c:pt>
                  <c:pt idx="2">
                    <c:v>GILLETTE LABS ARCTIC CAMO HOLIDAY GIFT PACK 5 BLADE RAZOR NORMAL 2CT</c:v>
                  </c:pt>
                  <c:pt idx="3">
                    <c:v>DOLLAR SHAVE CLUB BLACK 6 BLADE RAZOR NORMAL 2CT</c:v>
                  </c:pt>
                  <c:pt idx="4">
                    <c:v>GILLETTE FUSION 5 PROGLIDE 5 BLADE RAZOR NORMAL 4CT</c:v>
                  </c:pt>
                  <c:pt idx="5">
                    <c:v>GILLETTE FUSION 5 5 BLADE RAZOR NORMAL 5CT</c:v>
                  </c:pt>
                  <c:pt idx="6">
                    <c:v>GILLETTE LABS 5 BLADE RAZOR NORMAL 1CT</c:v>
                  </c:pt>
                  <c:pt idx="7">
                    <c:v>HYDRO 5 SENSITIVE 5 BLADE RAZOR SENSITIVE 3CT</c:v>
                  </c:pt>
                  <c:pt idx="8">
                    <c:v>GILLETTE FUSION 5 5 BLADE RAZOR NORMAL 1CT</c:v>
                  </c:pt>
                  <c:pt idx="9">
                    <c:v>GILLETTE LABS 5 BLADE RAZOR NORMAL 4CT</c:v>
                  </c:pt>
                  <c:pt idx="10">
                    <c:v>GILLETTE FUSION 5 PROSHIELD GRAY 5 BLADE RAZOR NORMAL 2CT</c:v>
                  </c:pt>
                  <c:pt idx="11">
                    <c:v>GILLETTE LABS 5 BLADE RAZOR NORMAL 2CT</c:v>
                  </c:pt>
                  <c:pt idx="12">
                    <c:v>GILLETTE FUSION 5 PROGLIDE STYLER REM BLADES RAZOR 1CT</c:v>
                  </c:pt>
                  <c:pt idx="13">
                    <c:v>GILLETTE MACH 3 3 BLADE RAZOR NORMAL 2CT</c:v>
                  </c:pt>
                  <c:pt idx="14">
                    <c:v>GILLETTE FUSION 5 5 BLADE RAZOR NORMAL 2CT</c:v>
                  </c:pt>
                  <c:pt idx="15">
                    <c:v>GILLETTE FUSION 5 5 BLADE RAZOR NORMAL 7CT</c:v>
                  </c:pt>
                  <c:pt idx="16">
                    <c:v>GILLETTE FUSION 5 PROGLIDE 5 BLADE RAZOR NORMAL 1CT</c:v>
                  </c:pt>
                  <c:pt idx="17">
                    <c:v>GILLETTE INTIMATE BLACK 5 BLADE RAZOR NORMAL 2CT</c:v>
                  </c:pt>
                  <c:pt idx="18">
                    <c:v>GILLETTE FUSION 5 PROGLIDE 5 BLADE RAZOR NORMAL 2CT</c:v>
                  </c:pt>
                  <c:pt idx="19">
                    <c:v>HARRY'S SURF BLUE 5 BLADE RAZOR NORMAL 2CT</c:v>
                  </c:pt>
                  <c:pt idx="20">
                    <c:v>EQUATE EASY FIT 5 5 BLADE RAZOR NORMAL 2CT</c:v>
                  </c:pt>
                  <c:pt idx="21">
                    <c:v>HARRY'S SILVER 5 BLADE RAZOR NORMAL 5CT</c:v>
                  </c:pt>
                  <c:pt idx="22">
                    <c:v>GILLETTE MACH 3 3 BLADE RAZOR NORMAL 6CT</c:v>
                  </c:pt>
                  <c:pt idx="23">
                    <c:v>HARRY'S ORANGE 5 BLADE RAZOR NORMAL 5CT</c:v>
                  </c:pt>
                  <c:pt idx="24">
                    <c:v>GILLETTE SKINGUARD 2 BLADE RAZOR SENSITIVE 2CT</c:v>
                  </c:pt>
                  <c:pt idx="25">
                    <c:v>DOLLAR SHAVE CLUB RED BLUE WHITE 6 BLADE RAZOR NORMAL 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8"/>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8545443431426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MACH 3 3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GILLETTE MACH 3 3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SCHICK HYDRO 3 SENSITIVE 3 BLADE REFILL SENSITIVE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fld id="{A4CC02B9-C22A-4AA3-B972-C5B6B11A4C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7B1E7C54-BA6A-46F1-B453-F114ADB581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54FA7CDB-FA5F-4D5C-9F22-C6B56FD116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E1972523-7A13-4D40-8123-B53852E106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CE5211B3-EED6-4B89-85A8-334088824A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0DA1340B-66E0-4E9B-90B3-DF985C6B6B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8C6A9FCD-E644-4DE4-BA6E-FA759C4D73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AA4B193A-4ED1-499E-813D-56B9B27333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CA1A5898-0C3D-4EFB-8560-76C764FCC4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8DF3E34A-BA2C-4126-B274-AD140CB16C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DBE41934-6F4E-4128-936D-326B316D04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64D963E7-B47C-4BEA-84D3-3BE07D41BB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116F7453-938A-4C90-B1F9-48B45A18AC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14DD9A47-EA74-4259-962B-6D70E443CC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9FFE7FE0-428B-4084-A34F-27ADA96905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41868359-9A5F-4069-9277-8B988B1F05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73BE9049-EA36-47A1-893F-AF8034A527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5E187205-00FA-4823-B0E2-0D81ADB9E6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05036851-6C7D-4497-BB82-60CCFB8850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D38371E2-85DA-4406-A80F-E0CE0B99AF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C0E35288-0DF6-435C-93C4-FA780C5B62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42A5A4D3-F564-4C69-AA79-4F1407CD20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C9840899-F574-4B78-810E-415ABD1393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3E2C428B-B659-497B-B31C-3446B94029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D04F6858-8263-411B-B19A-638945DD2F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1</c:v>
                </c:pt>
                <c:pt idx="1">
                  <c:v>7.0000000000000007E-2</c:v>
                </c:pt>
                <c:pt idx="2">
                  <c:v>0.14000000000000001</c:v>
                </c:pt>
                <c:pt idx="3">
                  <c:v>0.11</c:v>
                </c:pt>
                <c:pt idx="4">
                  <c:v>0.03</c:v>
                </c:pt>
                <c:pt idx="5">
                  <c:v>0.04</c:v>
                </c:pt>
                <c:pt idx="6">
                  <c:v>0.35</c:v>
                </c:pt>
                <c:pt idx="7">
                  <c:v>0.1</c:v>
                </c:pt>
                <c:pt idx="8">
                  <c:v>0.04</c:v>
                </c:pt>
                <c:pt idx="9">
                  <c:v>0.01</c:v>
                </c:pt>
                <c:pt idx="10">
                  <c:v>0.39</c:v>
                </c:pt>
                <c:pt idx="11">
                  <c:v>0.1</c:v>
                </c:pt>
                <c:pt idx="12">
                  <c:v>0.09</c:v>
                </c:pt>
                <c:pt idx="13">
                  <c:v>0.11</c:v>
                </c:pt>
                <c:pt idx="14">
                  <c:v>0.2</c:v>
                </c:pt>
                <c:pt idx="15">
                  <c:v>0.04</c:v>
                </c:pt>
                <c:pt idx="16">
                  <c:v>0.66</c:v>
                </c:pt>
                <c:pt idx="17">
                  <c:v>0.28000000000000003</c:v>
                </c:pt>
                <c:pt idx="18">
                  <c:v>0.12</c:v>
                </c:pt>
                <c:pt idx="19">
                  <c:v>0.54</c:v>
                </c:pt>
                <c:pt idx="20">
                  <c:v>0.08</c:v>
                </c:pt>
                <c:pt idx="21">
                  <c:v>0.18</c:v>
                </c:pt>
                <c:pt idx="22">
                  <c:v>0.57999999999999996</c:v>
                </c:pt>
              </c:numCache>
            </c:numRef>
          </c:xVal>
          <c:yVal>
            <c:numRef>
              <c:f>Sheet1!$B$2:$B$24</c:f>
              <c:numCache>
                <c:formatCode>General</c:formatCode>
                <c:ptCount val="23"/>
                <c:pt idx="0">
                  <c:v>0.28036068611811321</c:v>
                </c:pt>
                <c:pt idx="1">
                  <c:v>2.322914669885693E-2</c:v>
                </c:pt>
                <c:pt idx="2">
                  <c:v>0.45428332366686403</c:v>
                </c:pt>
                <c:pt idx="3">
                  <c:v>8.8637819366076523E-2</c:v>
                </c:pt>
                <c:pt idx="4">
                  <c:v>5.2758507112676142E-2</c:v>
                </c:pt>
                <c:pt idx="5">
                  <c:v>0</c:v>
                </c:pt>
                <c:pt idx="6">
                  <c:v>0.37892159394589803</c:v>
                </c:pt>
                <c:pt idx="7">
                  <c:v>0.51540924912371144</c:v>
                </c:pt>
                <c:pt idx="8">
                  <c:v>2.5617209633611041E-2</c:v>
                </c:pt>
                <c:pt idx="9">
                  <c:v>0</c:v>
                </c:pt>
                <c:pt idx="10">
                  <c:v>0.34438555153868777</c:v>
                </c:pt>
                <c:pt idx="11">
                  <c:v>2.1416509932592909E-3</c:v>
                </c:pt>
                <c:pt idx="12">
                  <c:v>0</c:v>
                </c:pt>
                <c:pt idx="13">
                  <c:v>0</c:v>
                </c:pt>
                <c:pt idx="14">
                  <c:v>0.44487523013291641</c:v>
                </c:pt>
                <c:pt idx="15">
                  <c:v>0</c:v>
                </c:pt>
                <c:pt idx="16">
                  <c:v>2.62605457765184</c:v>
                </c:pt>
                <c:pt idx="17">
                  <c:v>0</c:v>
                </c:pt>
                <c:pt idx="18">
                  <c:v>0</c:v>
                </c:pt>
                <c:pt idx="19">
                  <c:v>0.47877352484274333</c:v>
                </c:pt>
                <c:pt idx="20">
                  <c:v>0</c:v>
                </c:pt>
                <c:pt idx="21">
                  <c:v>0</c:v>
                </c:pt>
                <c:pt idx="22">
                  <c:v>0.7357053867086325</c:v>
                </c:pt>
              </c:numCache>
            </c:numRef>
          </c:yVal>
          <c:smooth val="0"/>
          <c:extLst>
            <c:ext xmlns:c15="http://schemas.microsoft.com/office/drawing/2012/chart" uri="{02D57815-91ED-43cb-92C2-25804820EDAC}">
              <c15:datalabelsRange>
                <c15:f>Sheet1!$E$2:$E$51</c15:f>
                <c15:dlblRangeCache>
                  <c:ptCount val="50"/>
                  <c:pt idx="0">
                    <c:v>GILLETTE FUSION 5 PROGLIDE 5 BLADE REFILL NORMAL 12CT</c:v>
                  </c:pt>
                  <c:pt idx="1">
                    <c:v>HYDRO 5 SENSITIVE 5 BLADE REFILL SENSITIVE 6CT</c:v>
                  </c:pt>
                  <c:pt idx="2">
                    <c:v>GILLETTE FUSION 5 PROGLIDE 5 BLADE REFILL NORMAL 8CT</c:v>
                  </c:pt>
                  <c:pt idx="3">
                    <c:v>HYDRO 5 SENSITIVE 5 BLADE REFILL SENSITIVE 12CT</c:v>
                  </c:pt>
                  <c:pt idx="4">
                    <c:v>DOLLAR SHAVE CLUB 6 BLADE REFILL NORMAL 4CT</c:v>
                  </c:pt>
                  <c:pt idx="5">
                    <c:v>GILLETTE FUSION 5 5 BLADE REFILL NORMAL 8CT</c:v>
                  </c:pt>
                  <c:pt idx="6">
                    <c:v>GILLETTE MACH 3 3 BLADE REFILL NORMAL 12CT</c:v>
                  </c:pt>
                  <c:pt idx="7">
                    <c:v>GILLETTE LABS 5 BLADE REFILL NORMAL 6CT</c:v>
                  </c:pt>
                  <c:pt idx="8">
                    <c:v>DOLLAR SHAVE CLUB 6 BLADE REFILL NORMAL 8CT</c:v>
                  </c:pt>
                  <c:pt idx="9">
                    <c:v>HARRY'S 5 BLADE REFILL NORMAL 4CT</c:v>
                  </c:pt>
                  <c:pt idx="10">
                    <c:v>EQUATE EASY FIT 5 5 BLADE REFILL NORMAL 8CT</c:v>
                  </c:pt>
                  <c:pt idx="11">
                    <c:v>EQUATE EASY FIT 5 5 BLADE REFILL NORMAL 4CT</c:v>
                  </c:pt>
                  <c:pt idx="12">
                    <c:v>HARRY'S 5 BLADE REFILL NORMAL 8CT</c:v>
                  </c:pt>
                  <c:pt idx="13">
                    <c:v>GILLETTE MACH 3 3 BLADE REFILL NORMAL 8CT</c:v>
                  </c:pt>
                  <c:pt idx="14">
                    <c:v>EQUATE EASY FIT 5 5 BLADE REFILL NORMAL 12CT</c:v>
                  </c:pt>
                  <c:pt idx="15">
                    <c:v>GILLETTE FUSION 5 5 BLADE REFILL NORMAL 4CT</c:v>
                  </c:pt>
                  <c:pt idx="16">
                    <c:v>GILLETTE INTIMATE 5 BLADE REFILL NORMAL 4CT</c:v>
                  </c:pt>
                  <c:pt idx="17">
                    <c:v>GILLETTE FUSION 5 5 BLADE REFILL NORMAL 12CT</c:v>
                  </c:pt>
                  <c:pt idx="18">
                    <c:v>HARRY'S 5 BLADE REFILL NORMAL 12CT</c:v>
                  </c:pt>
                  <c:pt idx="19">
                    <c:v>GILLETTE SKINGUARD 2 BLADE REFILL SENSITIVE 8CT</c:v>
                  </c:pt>
                  <c:pt idx="20">
                    <c:v>GILLETTE MACH 3 3 BLADE REFILL NORMAL 4CT</c:v>
                  </c:pt>
                  <c:pt idx="21">
                    <c:v>GILLETTE MACH 3 3 BLADE REFILL NORMAL 15CT</c:v>
                  </c:pt>
                  <c:pt idx="22">
                    <c:v>SCHICK HYDRO 3 SENSITIVE 3 BLADE REFILL SENSITIVE 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2654931822079"/>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033E04A8-0DA6-403E-B007-E95973BF5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AF3BC219-22B7-46A5-A857-510DF7721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17CF9492-EE4B-4FF8-B17C-6F202AC60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452D96D9-65C0-41AE-8C18-215DD1818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E08B9D0C-00C4-4FBA-8335-52B758925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399FA027-0788-4CB1-8BE3-39F6F3D86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36F53302-7B5F-43A1-98D3-AE7EF865B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52BFA084-0033-493A-B31F-80E00F802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F2887509-4003-4E98-8BB4-75D04D59A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2B5C18EC-56A1-452D-9B07-4BAEEEA0A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25EFC40C-F72B-4D80-A939-ADD85FDFD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B14445D5-AE1D-4C67-A84A-A508E08F9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701702FC-4AE7-4D1E-8338-2EA7B7DF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1D8748D7-0A20-49BF-8882-54DD31BC0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A5481B5C-866F-47CD-A5E3-AFBB1EC9E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D2AD749D-1751-4E17-8D2B-D7F08CBB7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0F6B811B-2FB8-4DDD-B063-C50900424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E678BB45-D61C-4349-B794-2303A401F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98B555F8-4D19-4979-89ED-D57B3925F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B58D4C0D-7A46-4838-B01D-1062AFF2D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1FF4939F-AC6E-4F7D-849E-5752B9A16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C706B8E1-92A9-44DB-855A-EDD119974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02ADCA97-9F73-47F4-812D-EE3920885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82C10C65-D6CE-44F0-A327-CCC0E4A83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53463D10-8A45-4EA5-A16E-A143B6567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BFA1C31A-9060-4DF1-BB3B-E7F4EEAC1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C42F6571-CF29-46AC-AB82-F344A8D5C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C12B8B45-1DF2-4057-ACFB-CF745680F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548D7B05-1BA5-48A7-B3D7-F81239FC1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3BA1837B-E7FA-4672-8046-1814BA1A5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01104A6F-BC20-4C63-BFFF-2731E728B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592DDF1A-CA6A-4820-8CE9-A2D6AA769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3B863AB3-EBAC-4C82-9B77-B039601F0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72433412-6F25-4423-8775-AE8F94032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758F056D-D6EB-4513-A519-8554D6922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1B484037-4AD6-4382-9551-B3C6A19A2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8E4E442B-3490-4D64-9B1E-B61CF555A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FB4A981A-AE78-4E93-844B-A6BAD5F44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43E0D1E7-F990-4D20-BC08-A5A1895E3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0777A40-FA60-4E41-A89A-063DE50C9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5C1F9468-96CE-46C9-BF55-9209624B1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F2D42A18-5012-4453-BBB1-F033EB578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D9026FAE-94F7-494C-BA63-30A9D0E52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A627362-0DC0-482E-9CEF-BD5401B32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C5E4F8F-0DA0-47A5-9352-16B31E1E3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BD6D8C5B-BE4A-4B41-8EC4-DC9F7B03C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6</c:v>
                </c:pt>
                <c:pt idx="1">
                  <c:v>1.9</c:v>
                </c:pt>
                <c:pt idx="2">
                  <c:v>1.33</c:v>
                </c:pt>
                <c:pt idx="3">
                  <c:v>0.96</c:v>
                </c:pt>
              </c:numCache>
            </c:numRef>
          </c:xVal>
          <c:yVal>
            <c:numRef>
              <c:f>Sheet1!$B$2:$B$5</c:f>
              <c:numCache>
                <c:formatCode>General</c:formatCode>
                <c:ptCount val="4"/>
                <c:pt idx="0">
                  <c:v>0.27279047397178152</c:v>
                </c:pt>
                <c:pt idx="1">
                  <c:v>0.23067785652178049</c:v>
                </c:pt>
                <c:pt idx="2">
                  <c:v>0.17727200467040899</c:v>
                </c:pt>
                <c:pt idx="3">
                  <c:v>0.27999560553999492</c:v>
                </c:pt>
              </c:numCache>
            </c:numRef>
          </c:yVal>
          <c:bubbleSize>
            <c:numRef>
              <c:f>Sheet1!$C$2:$C$5</c:f>
              <c:numCache>
                <c:formatCode>General</c:formatCode>
                <c:ptCount val="4"/>
                <c:pt idx="0">
                  <c:v>25406313</c:v>
                </c:pt>
                <c:pt idx="1">
                  <c:v>8454937</c:v>
                </c:pt>
                <c:pt idx="2">
                  <c:v>9284787</c:v>
                </c:pt>
                <c:pt idx="3">
                  <c:v>5674749</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125"/>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82096AB-CCE9-47EC-802A-D7422A131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AF5B32EA-EB9F-4845-83CB-539B392F8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A4C2D1A-A262-46A4-8884-39062D59D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35D2796-02D3-43B4-9097-71E4CBA1A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62AF128-C3BB-4C5A-B569-75E4514D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A3177F3-F7DB-41F8-AE40-DF96E4D2B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C8B10C48-80A1-4711-BDFC-8F1454228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A307F4E2-1346-42E2-BF64-FAB77E501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2FB580F4-FE85-4C33-8A02-0633A48DF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455A4276-0B15-416C-B4DD-A56D38DE3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8090A686-BF9E-4889-AC59-CABFFA5B0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8458E04-5FCB-45D9-8C1B-D28EDFBDC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87A11BF3-FB43-4BEA-9B04-1C0EB425E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A18341DE-6802-425D-91BF-F3F58588C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3363-48D8-B751-EA6AD3438C92}"/>
                </c:ext>
              </c:extLst>
            </c:dLbl>
            <c:dLbl>
              <c:idx val="16"/>
              <c:tx>
                <c:rich>
                  <a:bodyPr/>
                  <a:lstStyle/>
                  <a:p>
                    <a:fld id="{F36CC912-27CA-4C59-86B1-8543B4482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B0B0F830-969F-41C8-BF1B-81ED0A123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A2383F83-1257-4947-BAB6-D9DEF7345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FCAE2275-4719-43FC-91C5-B4612DC8F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F94708B5-D3E7-4D35-94E9-7454EEA22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BB1A71F-3455-40F0-B588-EB2D3CD08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2F1D9C2-7DA6-484C-9C19-18A80B072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EB811BE-B612-476C-BC69-46C347E44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38435E87-FE8F-4FC4-8038-464957F72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61B1D2FF-900A-4BD9-91B4-3E96EE3D0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67891F6-E51E-4E52-93E4-A560D5E74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F7A8E106-1EAD-4F8F-B32D-FF648CD88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BCB8AA0-407E-4D2C-8D4A-913C57322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D3020B49-BDA1-4233-80ED-CBAFBBEDE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420D0ACF-F46A-4C35-A2F5-07DA26C0B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6F8FA5F4-EE60-486C-BA7E-2975A44F1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33D8D53D-0815-4800-B981-5A097AB1D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003ED4E6-9CEE-4CB4-8B59-F7F7D4A8E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B9B9C1F9-0DEB-4F04-A76C-C7D6A7196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76962027-2758-4487-9766-F251CA01F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B728C8BC-3579-4B40-96BC-252998B31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8647FE59-CD1F-46E5-A04C-8E5BE4AC1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83B236B7-A911-41CD-A0C1-B67DAEB6D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567B0A29-FA36-4603-82FA-2B17D622E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9688196-7007-49C8-B2F1-F117C2941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A94DD784-E3E2-4FDF-9417-1E814DC24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6C44596E-2189-4F10-9A98-E1E2A238B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C3AB6CBE-44AF-4FF3-9B23-CED173598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584C19B-AC1D-4EB4-B102-0D5400D34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64F479F2-0211-4760-BC24-E58421BEF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94CD6562-4129-464B-A2A1-8C817882B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885DC24-CAF3-48A5-8A07-BD08011C9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5</c:v>
                </c:pt>
                <c:pt idx="1">
                  <c:v>1.72</c:v>
                </c:pt>
                <c:pt idx="2">
                  <c:v>1.24</c:v>
                </c:pt>
                <c:pt idx="3">
                  <c:v>1.32</c:v>
                </c:pt>
                <c:pt idx="4">
                  <c:v>1.27</c:v>
                </c:pt>
                <c:pt idx="5">
                  <c:v>1.75</c:v>
                </c:pt>
                <c:pt idx="6">
                  <c:v>1.39</c:v>
                </c:pt>
                <c:pt idx="7">
                  <c:v>1.49</c:v>
                </c:pt>
                <c:pt idx="8">
                  <c:v>0.91</c:v>
                </c:pt>
                <c:pt idx="9">
                  <c:v>0.65</c:v>
                </c:pt>
                <c:pt idx="10">
                  <c:v>1.4</c:v>
                </c:pt>
                <c:pt idx="11">
                  <c:v>0.03</c:v>
                </c:pt>
                <c:pt idx="12">
                  <c:v>0.06</c:v>
                </c:pt>
                <c:pt idx="13">
                  <c:v>0</c:v>
                </c:pt>
                <c:pt idx="14">
                  <c:v>-0.03</c:v>
                </c:pt>
                <c:pt idx="15">
                  <c:v>-0.69</c:v>
                </c:pt>
              </c:numCache>
            </c:numRef>
          </c:xVal>
          <c:yVal>
            <c:numRef>
              <c:f>Sheet1!$B$2:$B$17</c:f>
              <c:numCache>
                <c:formatCode>General</c:formatCode>
                <c:ptCount val="16"/>
                <c:pt idx="0">
                  <c:v>0.81460090735963353</c:v>
                </c:pt>
                <c:pt idx="1">
                  <c:v>0.7383750528378934</c:v>
                </c:pt>
                <c:pt idx="2">
                  <c:v>0.76790738086259158</c:v>
                </c:pt>
                <c:pt idx="3">
                  <c:v>0.39216582365237512</c:v>
                </c:pt>
                <c:pt idx="4">
                  <c:v>0.240954913595957</c:v>
                </c:pt>
                <c:pt idx="5">
                  <c:v>0.59609743116706959</c:v>
                </c:pt>
                <c:pt idx="6">
                  <c:v>0.13864863616545811</c:v>
                </c:pt>
                <c:pt idx="7">
                  <c:v>0.28221830030740819</c:v>
                </c:pt>
                <c:pt idx="8">
                  <c:v>0.14103156992395741</c:v>
                </c:pt>
                <c:pt idx="9">
                  <c:v>9.1836150396722896E-2</c:v>
                </c:pt>
                <c:pt idx="10">
                  <c:v>0.23075279536192311</c:v>
                </c:pt>
                <c:pt idx="11">
                  <c:v>0.10001820721860551</c:v>
                </c:pt>
                <c:pt idx="12">
                  <c:v>1.5111368645785229E-2</c:v>
                </c:pt>
                <c:pt idx="13">
                  <c:v>0</c:v>
                </c:pt>
                <c:pt idx="14">
                  <c:v>-1.9226785309249528E-2</c:v>
                </c:pt>
                <c:pt idx="15">
                  <c:v>-5.4076604412468622E-2</c:v>
                </c:pt>
              </c:numCache>
            </c:numRef>
          </c:yVal>
          <c:bubbleSize>
            <c:numRef>
              <c:f>Sheet1!$C$2:$C$17</c:f>
              <c:numCache>
                <c:formatCode>General</c:formatCode>
                <c:ptCount val="16"/>
                <c:pt idx="0">
                  <c:v>1778216</c:v>
                </c:pt>
                <c:pt idx="1">
                  <c:v>1356208</c:v>
                </c:pt>
                <c:pt idx="2">
                  <c:v>901567</c:v>
                </c:pt>
                <c:pt idx="3">
                  <c:v>1577777</c:v>
                </c:pt>
                <c:pt idx="4">
                  <c:v>1162498</c:v>
                </c:pt>
                <c:pt idx="5">
                  <c:v>1128687</c:v>
                </c:pt>
                <c:pt idx="6">
                  <c:v>1539499</c:v>
                </c:pt>
                <c:pt idx="7">
                  <c:v>1048958</c:v>
                </c:pt>
                <c:pt idx="8">
                  <c:v>619932</c:v>
                </c:pt>
                <c:pt idx="9">
                  <c:v>755811</c:v>
                </c:pt>
                <c:pt idx="10">
                  <c:v>709097</c:v>
                </c:pt>
                <c:pt idx="11">
                  <c:v>829105</c:v>
                </c:pt>
                <c:pt idx="12">
                  <c:v>612423</c:v>
                </c:pt>
                <c:pt idx="13">
                  <c:v>350447</c:v>
                </c:pt>
                <c:pt idx="14">
                  <c:v>914106</c:v>
                </c:pt>
                <c:pt idx="15">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CD552A88-26D6-4012-BC19-A94BB4C5B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4EE81EC-F46B-41A3-AD38-AB801D6BB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3CFC8DDE-2618-4A1E-9848-A06C09DA7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0EC0C706-C08F-46A5-B088-9C2BC53CD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690B2756-BA2B-44B9-BA91-600E5E2D4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14B70850-D44C-4C3F-8F30-9205E2622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D27E20DF-DE0C-4C94-AF49-341DCBE16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6003A146-9170-48C5-ADC2-BE2BA4006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913C4C60-B923-4C52-92FF-4C2DCAC6D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43B4053C-5A9A-4B20-BD77-8FC2EE8BD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70649790-3B08-4315-8B60-E0B91BD5A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1E3CE848-DE9A-4FCA-BB3D-F7DDA3FA7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4D28A86F-783A-4FB4-86A7-ECDA63674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FBE796C0-4F06-4B1F-9ECE-43746B721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851DD63E-009E-423F-9C9D-0BFF6BD2C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AF093D54-792C-4E2A-BF0D-44B57EECC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99D18F43-8314-4212-80BF-1C273CB54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0A8BFEF2-646C-4A94-B522-EE58B6494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C5B4B2AE-CADC-46A8-B4C1-D9ECFB85B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202A121-CF21-4B76-A946-B6A6AB457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84152D1F-3F35-4AAF-8996-F178BBF7B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F4364B67-8C09-4B52-A8F3-C77C07B19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5F80328A-3565-42EC-99D7-2A0282C74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7FFB25D3-C0D6-4CD2-B5E3-1C16FC800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33297A43-7996-4AE6-8794-8F4163F03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4C1FAD48-115D-4338-BC7C-82311282A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A1AA21C2-1235-4F63-BAC5-A53A0026D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121FB0A7-5CBE-47AD-89C0-3E4A64390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48D16F22-51BF-4019-93FA-EEDC2BB25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20F89FAC-E130-4C43-9728-BFED07C22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0D55DF81-7943-4D72-BE18-E5C04DACE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6C7FEADD-AAA6-468A-AB64-E3D8946C7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2DE32C1E-D894-4833-96D5-247CD54E5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02765810-3E3A-44C0-B137-173AFE8F9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B80F444B-7FDE-474B-853B-962A298A6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7803114F-4082-45E6-8FBE-DFF147CD0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D896232D-CED1-4A0F-BA28-291CE7BB4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EE941232-0A98-4C3B-AD72-1295A3D16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809A989-D9B0-4773-BB38-80F17F37E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2DB15C5-15F9-4210-ABC9-5A4678BE4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440AC4E4-82D2-4B42-8C52-5B7E895DA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3F835000-A229-489E-BFCF-742B7B23A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5AEF52DF-24F9-457D-8839-DAF6CA15A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C3FB6FC-3E1C-4700-BD36-185A05FCC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BD662829-98C8-4E6A-B1BE-266895B99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773B7A10-67C7-4148-A3E1-E35445805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86</c:v>
                </c:pt>
                <c:pt idx="1">
                  <c:v>1.33</c:v>
                </c:pt>
              </c:numCache>
            </c:numRef>
          </c:xVal>
          <c:yVal>
            <c:numRef>
              <c:f>Sheet1!$B$2:$B$3</c:f>
              <c:numCache>
                <c:formatCode>General</c:formatCode>
                <c:ptCount val="2"/>
                <c:pt idx="0">
                  <c:v>0.27279047397178152</c:v>
                </c:pt>
                <c:pt idx="1">
                  <c:v>0.17727200467040899</c:v>
                </c:pt>
              </c:numCache>
            </c:numRef>
          </c:yVal>
          <c:bubbleSize>
            <c:numRef>
              <c:f>Sheet1!$C$2:$C$3</c:f>
              <c:numCache>
                <c:formatCode>General</c:formatCode>
                <c:ptCount val="2"/>
                <c:pt idx="0">
                  <c:v>25406313</c:v>
                </c:pt>
                <c:pt idx="1">
                  <c:v>9284787</c:v>
                </c:pt>
              </c:numCache>
            </c:numRef>
          </c:bubbleSize>
          <c:bubble3D val="0"/>
          <c:extLst>
            <c:ext xmlns:c15="http://schemas.microsoft.com/office/drawing/2012/chart" uri="{02D57815-91ED-43cb-92C2-25804820EDAC}">
              <c15:datalabelsRange>
                <c15:f>Sheet1!$E$2:$E$49</c15:f>
                <c15:dlblRangeCache>
                  <c:ptCount val="48"/>
                  <c:pt idx="0">
                    <c:v>1</c:v>
                  </c:pt>
                  <c:pt idx="1">
                    <c:v>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95000000000000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50AEA590-955F-43E2-8FAE-211C3D657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DF18BA54-FCDC-4E89-93E8-78A807021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144DA286-8FDD-4539-881D-9F22F6C54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2F2E2DA5-68CA-45E1-969C-6B5FB6DE8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E8885676-A3BB-40DA-AFB9-46EF40E9C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E120D131-08DF-4BE9-8F86-0D52ABD1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BF8BAE58-4CFE-4063-B4BB-070849EFE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9A0702AF-A93A-417A-847C-39E276850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E174D17E-B3D8-459E-A302-0B5ACA741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393B4B8A-8E8B-47EA-A251-969C1A6D2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9E1D7C5-77A2-4380-91C0-F8F3CA51E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2EE6EE21-CB86-4493-92F2-F103DB00D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9CF60B50-4B6C-452D-B95D-3136C8593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D33582AD-9135-48B0-B03E-3D15D5F39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5040C65F-0925-43FD-951A-73262BA72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7D3243D-35DB-4CB6-8889-7FF472A24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47C15210-A69C-4D47-95B3-8F7913996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F4F51422-2700-4D2A-BA99-953A092AA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4B0F26A-2BB7-46F8-BC45-FBA28FBAD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5231ECD9-1EB0-469D-A80E-6BE9F2926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5B57784-64B9-4685-9093-38C264F5F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EACA5C35-4FF0-45F5-99EA-94DDABFC0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9A7E4902-CDCC-4D87-8640-6CB6CD0E2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C5DE7C5-3580-4871-8113-5C03CD767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84744190-7D88-46D9-BFF4-8ED8D2F23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A6B3BFEE-FF82-475B-977A-CDFD8716F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550B726D-2522-4D4F-9B86-FB67A0907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8B42F57-86C6-43E3-88E4-4475A6B63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5C94F053-709C-4451-9F22-57DF6ABFA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F785007A-6D53-4136-9EBC-76B12EF9A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1753986-1590-43EA-9E4D-37C555F4A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8898DBF8-99E9-4941-9149-F4CC2302C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3626D049-FE59-4ACE-8434-84AE730D7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9CC4BBEE-9419-4AA9-94D4-A56F5AC46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A678E7ED-0F8A-4B00-84C3-26E0E6FDE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7AB6C27-EA50-4609-8BCB-9AF48542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7FD31AFD-65CE-45F5-8CD8-9A65561A7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7646DECB-214B-499B-AAB9-7DB1737E1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82EE6E13-9692-472E-AFD7-C7DE6B855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E1B367F-64BA-46E1-9197-B4C6E570B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2A1F48A-BC90-43D8-9BA1-2C2F7999C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2BB6E918-B457-40C4-8671-77943D99D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654D8915-FEA1-4F1A-B89C-C52D8091B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12DB0ABD-9B8B-47D7-A72B-D839610B1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7B422F92-D652-4E8B-A5D1-9C7C45B05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240929B3-616A-4850-B04C-475138D93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0E67D82-F3B1-4AA7-AFAD-4DD49A39C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5AB6C90-FB11-4BCC-8F63-965550CF9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CFCAA2A9-A60E-49F0-9C48-7414700AC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EB3F979-D2DA-4DC7-AEAC-DC791D7A0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2EA6C570-E0C2-4D39-A546-860D4447D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D52F1852-79C3-4E2A-BC9E-FD099F192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E4896DD-741D-4A64-A21C-3AB61225E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08333E5-C9B3-410B-8726-D61D8E68F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B0582254-50BD-43E2-90B0-B7497B655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5E5E1C06-C9A4-4919-8A1B-B3797B369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3363-48D8-B751-EA6AD3438C92}"/>
                </c:ext>
              </c:extLst>
            </c:dLbl>
            <c:dLbl>
              <c:idx val="12"/>
              <c:tx>
                <c:rich>
                  <a:bodyPr/>
                  <a:lstStyle/>
                  <a:p>
                    <a:fld id="{B5E33540-3C25-459B-9DCA-59A0A8424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EFD5F55-7026-406A-A82C-AF20B7F88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8A4BF5BC-5E3D-481C-BFE0-F35CCFE42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1089F48-7232-4E76-9151-8ADB40946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65E2390D-65A9-49F6-90C0-55EA15C38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4F954B33-0896-49DC-8433-AA19CC97F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0720AAF-E1C0-4AA1-BFF2-681E5A793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BCA959B8-FE27-4FF0-A878-E10D83F73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EE65CCF-0CC5-4359-9ABB-A54662CC4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FAB329D6-FA89-4CAD-B704-CB7462492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6112C28A-A4E7-4743-A081-FA79DDB7E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93EB61F-757A-42A0-9549-6FA98E532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67058DC3-F290-4910-BE80-4973E3861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A92B92AD-5FE6-464E-8E03-D506D4645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061B31E-26BE-4561-8E5F-32FBC6985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F3EDB1CC-97F7-494E-A620-B12297B5F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34908F81-247A-4617-9A7E-8B254A751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A133C9BC-FF1C-4F10-8B4A-DA9A16F9D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44F53D74-39F4-4020-BB95-41A37968C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09995C05-1EA6-4CBD-B606-D49FC9BD4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042EB20B-69DA-42F0-A408-64CAF6045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E9BF5241-1E2C-4DC2-B02F-59EC38E34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775C3071-D993-4AE4-949A-C5000B2DD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076DEA9D-5DD1-4A3C-A19B-240671F8F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CCCE8523-2D75-460D-B321-F55CB28D8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38E0EB0F-1123-4833-8405-D656A19BF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98038AA-28AA-4E4F-AB6E-FF30390C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36A1D30C-BF2C-45C9-8245-72B677988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5EF6E54-28B1-47D9-BE89-05CCCB3F0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19375355-D511-4976-BECE-1695F257D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CB56A84-0C47-4483-A97E-BE8E84511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2968C629-A699-4289-9893-B9FBFF5FA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3AECD4D2-53DC-4773-B5A8-6F9E43769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557037DB-D46E-4D8D-951B-BF118051D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F9912366-E86E-4C30-8CA3-1BAE72EDD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18B2EB34-5617-4DA9-81FD-DE6CA784E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3</c:f>
              <c:numCache>
                <c:formatCode>General</c:formatCode>
                <c:ptCount val="12"/>
                <c:pt idx="0">
                  <c:v>1.5</c:v>
                </c:pt>
                <c:pt idx="1">
                  <c:v>1.72</c:v>
                </c:pt>
                <c:pt idx="2">
                  <c:v>1.24</c:v>
                </c:pt>
                <c:pt idx="3">
                  <c:v>1.32</c:v>
                </c:pt>
                <c:pt idx="4">
                  <c:v>1.27</c:v>
                </c:pt>
                <c:pt idx="5">
                  <c:v>1.39</c:v>
                </c:pt>
                <c:pt idx="6">
                  <c:v>1.49</c:v>
                </c:pt>
                <c:pt idx="7">
                  <c:v>0.91</c:v>
                </c:pt>
                <c:pt idx="8">
                  <c:v>0.65</c:v>
                </c:pt>
                <c:pt idx="9">
                  <c:v>0.03</c:v>
                </c:pt>
                <c:pt idx="10">
                  <c:v>-0.03</c:v>
                </c:pt>
                <c:pt idx="11">
                  <c:v>-0.69</c:v>
                </c:pt>
              </c:numCache>
            </c:numRef>
          </c:xVal>
          <c:yVal>
            <c:numRef>
              <c:f>Sheet1!$B$2:$B$13</c:f>
              <c:numCache>
                <c:formatCode>General</c:formatCode>
                <c:ptCount val="12"/>
                <c:pt idx="0">
                  <c:v>0.81460090735963353</c:v>
                </c:pt>
                <c:pt idx="1">
                  <c:v>0.7383750528378934</c:v>
                </c:pt>
                <c:pt idx="2">
                  <c:v>0.76790738086259158</c:v>
                </c:pt>
                <c:pt idx="3">
                  <c:v>0.39216582365237512</c:v>
                </c:pt>
                <c:pt idx="4">
                  <c:v>0.240954913595957</c:v>
                </c:pt>
                <c:pt idx="5">
                  <c:v>0.13864863616545811</c:v>
                </c:pt>
                <c:pt idx="6">
                  <c:v>0.28221830030740819</c:v>
                </c:pt>
                <c:pt idx="7">
                  <c:v>0.14103156992395741</c:v>
                </c:pt>
                <c:pt idx="8">
                  <c:v>9.1836150396722896E-2</c:v>
                </c:pt>
                <c:pt idx="9">
                  <c:v>0.10001820721860551</c:v>
                </c:pt>
                <c:pt idx="10">
                  <c:v>-1.9226785309249528E-2</c:v>
                </c:pt>
                <c:pt idx="11">
                  <c:v>-5.4076604412468622E-2</c:v>
                </c:pt>
              </c:numCache>
            </c:numRef>
          </c:yVal>
          <c:bubbleSize>
            <c:numRef>
              <c:f>Sheet1!$C$2:$C$13</c:f>
              <c:numCache>
                <c:formatCode>General</c:formatCode>
                <c:ptCount val="12"/>
                <c:pt idx="0">
                  <c:v>1778216</c:v>
                </c:pt>
                <c:pt idx="1">
                  <c:v>1356208</c:v>
                </c:pt>
                <c:pt idx="2">
                  <c:v>901567</c:v>
                </c:pt>
                <c:pt idx="3">
                  <c:v>1577777</c:v>
                </c:pt>
                <c:pt idx="4">
                  <c:v>1162498</c:v>
                </c:pt>
                <c:pt idx="5">
                  <c:v>1539499</c:v>
                </c:pt>
                <c:pt idx="6">
                  <c:v>1048958</c:v>
                </c:pt>
                <c:pt idx="7">
                  <c:v>619932</c:v>
                </c:pt>
                <c:pt idx="8">
                  <c:v>755811</c:v>
                </c:pt>
                <c:pt idx="9">
                  <c:v>829105</c:v>
                </c:pt>
                <c:pt idx="10">
                  <c:v>914106</c:v>
                </c:pt>
                <c:pt idx="11">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F09447C-9F0E-4993-800D-09B3F5009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A62EC8F-053A-4401-B4C7-9A070A74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9D01EB0D-AAB8-466D-AA89-FA3719D2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3DA2ADE0-5935-4002-BAA8-FA618D306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DA5DE4AB-7104-4FA3-8585-09F7908B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5F772ECF-2604-45EA-9E2D-5609BD029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E3AACCC7-3518-493F-81A6-23F9F69CB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45F26DF7-132F-45B6-8C6E-1AFABE7D7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B5F60822-B055-4662-BC82-AFA511E02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51A16803-515D-41A3-8A6E-2CDDA33C8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C298CBD7-F65D-45B9-954B-DA5C51176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32E83D30-3A40-42B5-A2E9-BEF827019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6D3D6AA1-93DF-432E-831A-A3EF0A46A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BC3D795E-B457-4D25-AA19-4D0A5D0C9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4E2E7ED7-ED08-47D8-A18F-DEB681162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13407122-4FB8-4937-9EEE-1FB277AF8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0E4169F-6A6B-48EA-9670-B108FCF06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B00B6B49-FE24-403A-9D44-B5230A86F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14DAD72-FE3F-4CE1-B95E-F8CAD2116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DD5608B-A74D-4867-89BD-F91254FF0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60ACF3D5-5F40-4952-8DBF-A90CD8BAF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756175B2-61C7-4041-A2CA-0D96BDD4C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0E6BFE04-9018-4642-8A24-68224F291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159ABE77-0F9B-4923-9089-D1967D8EC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30EB0BCB-A16E-45FC-ADF4-B86EF3916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767B165A-CE02-472B-B1BD-3E638E8D8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DE88942A-60B5-46BA-971E-09949633C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FA6A3DF0-2A9D-4093-8FE4-023AF810E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109B50F-DCAC-46EF-9E45-4DA255C38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B1369654-5BEA-4255-B621-CF17A0503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EDE44797-80D5-4240-A159-5D3050950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4835EE4A-C38F-4D91-B40E-0C547C94E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F82788B7-4DDA-4383-9AE5-F87D13F83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8017E82-39BA-41D2-A6B9-65B0E8838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9887CDDC-C75C-486C-8B8C-FA46E6A86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359AF316-BFF8-41EA-BD68-D2FE30195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EE86270D-65C6-45E4-ABEF-EF863685F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D8613C2F-1B22-46EF-84B8-360BD2C17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403BEF2C-F474-4A2E-9ABD-A349E7555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5FABA51C-EFBE-41EC-AD65-13BA04304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3AF36643-94C2-4AEC-B959-F09C8E972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CB9525FA-4D67-4E76-8433-5A7BB887E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DD5B046C-5F86-4EA4-919F-D119A686B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C1ABA5BB-EE40-44F9-A19B-C3B4E20BD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7EFCFF59-71CD-416B-A177-2050AE675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556E935-BD69-4DCE-9B77-1D4B58032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52BFA2B5-70CA-4810-AC0F-38528D93D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B629FBC-DBA0-4AC4-BCD4-3B4627D88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0ABF0C2E-3E15-40DA-A731-DEAB4E9E1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6142F23C-4E06-4D86-99F4-E20EB9503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83F65756-2A94-4B4A-954A-2DC422A42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B8F9CC32-341B-4112-A30D-5FB19C5B4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732F19F3-6E1B-4304-81AD-E02629D2E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B08EEA94-E896-4590-8C8F-9EC2410C1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37874D91-F60A-4F86-A0B9-D35A852ED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783D7FDC-5660-49E8-8A73-772D59D36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51CF5074-59C5-4F70-8317-5DD335E7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EDF0CAA6-E04F-4713-9FAC-6A2428EE2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8DD22EE0-67BB-4143-AA3B-BEDD1C3E8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E2EB22E-DB0B-4619-9DB8-3E79D826B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3B6F97BD-EA0A-4812-9A94-CE082A7AA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E2F2AC1C-8972-466D-A499-34E7FDB19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EC38554-DA22-4163-B536-0A59BC429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5DF61AB1-828A-4497-BB91-3E894CAE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2DEAD378-5328-4DDE-8705-396FCD47A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DF7F5CC-BF53-4AC0-A027-EDC94EC34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2038FFB-4667-48AA-9A5D-AFE29DC7D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AFA99F5F-427A-4A8B-A80F-E75E76191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5CF78B98-B63F-4755-8C66-2B1CDDEB7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8FE77C33-3A2A-4743-959E-BEF65FB17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82178941-293C-4853-9D96-D991E61DF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3726B42B-3F97-4D57-B11C-9D1429CD4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88BDF905-31FC-4EF9-808D-3CE5877C2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8F4684BD-A75F-410D-A1B2-73637859F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B71581EF-83B4-47A9-8004-76C26921C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1FA95673-656D-458A-90F5-2B2A00D66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EE8C510-5DF9-4F09-9A88-9962B6CAB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7F17FDEC-1BCA-48D2-8E02-73A393804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F8101E90-B7AA-4194-9A5E-F2FC4B2F5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8B570E89-FD0C-43F0-9487-89F8E2054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E46E602C-6259-43CB-95B4-168A661CA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6F8AB4D-451D-43B4-AC09-9A5E0D8BD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9A3654DA-2E00-4161-810B-CBE6975C9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4CFC20B0-EFFB-4186-B946-4D55F0034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D57391DE-E600-48AF-8A17-926D6257A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4CA75547-BF02-48D8-93C9-E30C0EC8B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9D048361-B866-4E78-BACD-DCCC44206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DB76B38B-E40A-4945-BE8C-1ED3E7F42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59A5720-76F4-455B-94B4-1A48669BA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BEA3998-F575-4CB7-B395-F17CD8811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CFD2F09F-BA41-44AD-A8DC-558703AD0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C49A347E-B08D-4096-924F-32E20073E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7785652178049</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56EEF01-C011-4E24-9CE2-740A6918A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47525E28-2278-480A-A0C0-BED750078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70398A9-6E5F-4A00-A3ED-0D3C010FC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5FEE3A5B-5A98-4BD0-BE79-047A0C003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EB40413-3898-45C3-9E2C-329D94571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96719D13-48A2-4949-BE29-164370521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A9DCBA52-4A0C-4380-840F-74B6078C5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6C657403-3114-4650-BE76-9A9591114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D1C5A916-1F19-4F29-8E63-C86EBA1EE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091B8F94-37DF-436F-87AC-2BC2DDAED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A81F412-7E90-4277-AB6E-A7299432E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337B085D-D0B7-48C5-92E7-3B42A58D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BA7B46F-31D2-40B9-8B9E-EC1BDAA6A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B587485-418E-4DEE-B723-DB9F2AD83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54E98795-B493-443C-BD0C-F4BC5BEC9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E9534CC-2B39-4BB1-9E9F-77DD0F127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C7E6C3CD-F9B5-4DE3-82E5-468CC68A5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92287E5F-49B7-4B68-8026-0580609D7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D6B75080-D46D-4C1A-AD00-A60F36042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EA1DA07B-37C1-43D3-B978-ADAACB84C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C4CB839-BA13-45F9-A94A-5E66FA900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F9C11A21-69CB-4C71-99F6-53BAC024F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BA65F686-6108-4D4F-864D-18347E81B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D7C4FFCE-AB70-45D2-8C5C-5663D24C6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85FFEC4-3C07-415C-A902-A9AC6CCAD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9965AFA3-5DCD-471D-A95C-471D168BD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9E3342A-8753-4223-B35F-8D1095C0D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47CD688-BA29-4E6D-B79D-07510F399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AFE70BC3-CA65-4F9D-B0FA-98E4E8B2D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651D1056-DB65-4FF6-A75D-56BBB29E4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4821E3CD-8602-4363-83A3-2FC889695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FAAC1A87-B327-45B7-BACC-640C702C0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CC414558-50A5-4690-9C97-D01BAEC38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45D769D0-6520-4031-B57E-6AAC1EB2D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E29BCFC-CF3B-4C8E-A5E4-3C59A5DA5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536E70E7-6FFD-418A-AAAF-F488A221D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2256C615-1621-475F-87B6-0657545FA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61E5902-A04F-4D20-BF82-EA6F040B7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C87ECDD-0C35-4C06-ACBC-11B7C462A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8899B21-19C7-4E15-B9CF-CFC67891F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CA80569-55EE-4596-A32D-9885D862B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FCA2B99C-ED2E-4F93-8334-40D316664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2AB332A-0F22-4A64-AF52-E0EA19347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D0761FB5-58C7-4EAD-B8B1-67B7629FA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5C63FAF0-4A87-4A9B-90CB-C5F13BAC3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2671109-75E5-4418-89BE-690AFB8D9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5</c:v>
                </c:pt>
                <c:pt idx="1">
                  <c:v>1.4</c:v>
                </c:pt>
                <c:pt idx="2">
                  <c:v>0.06</c:v>
                </c:pt>
                <c:pt idx="3">
                  <c:v>0</c:v>
                </c:pt>
                <c:pt idx="4">
                  <c:v>0</c:v>
                </c:pt>
              </c:numCache>
            </c:numRef>
          </c:xVal>
          <c:yVal>
            <c:numRef>
              <c:f>Sheet1!$B$2:$B$6</c:f>
              <c:numCache>
                <c:formatCode>General</c:formatCode>
                <c:ptCount val="5"/>
                <c:pt idx="0">
                  <c:v>0.59609743116706959</c:v>
                </c:pt>
                <c:pt idx="1">
                  <c:v>0.23075279536192311</c:v>
                </c:pt>
                <c:pt idx="2">
                  <c:v>1.5111368645785229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FEE65086-FB75-4316-813E-79DA56201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61B9D76-C670-4E10-9CE4-7DC6F2155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CB1BC31A-F364-4248-8BD2-CCF00EF92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73C42959-35B9-47E3-B259-79D362B07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EB478A5F-9673-4190-AFE9-F37057D14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7B6093D3-D36C-48CC-9EFF-FC0E26BBD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2EDAA8BC-43AC-4741-9EEF-C88A4DF89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30783238-E71D-4863-BA16-098AAA63D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544048DB-11B9-448A-91A4-25C498F9F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6D06B45C-5759-49B5-9DDC-B36E97C1B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01DAC9EF-A639-4274-950E-7444BDD5F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BC7B5F36-1698-40B3-A6F2-2F9C066A7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20529AF0-28FC-4A03-96BB-9C10B167F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626FCEE6-E9C2-4AF5-A9CB-75E19C733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E2F75235-D7CE-4AFB-BB05-6213FF5F3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C237FA3A-C948-419D-8708-0152D3333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920BB9FB-70E2-40CA-8C62-02DDA1D92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3AEBED5-E95D-4D18-8A49-CAFC97031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3A17ACC-9353-47D2-B2B4-46DE364A5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288A4393-FCCF-4566-A1CA-2B535A1B7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E65C90D-2E98-4BB1-B51E-0A764BA91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8832D122-6662-47D0-AD9D-8BDFAB845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CFBAACEF-E039-48D8-8EC3-5F304F057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17DF216D-1B71-48F6-A861-950B10F5D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C4BA650E-5BE2-419F-9949-5C784A16B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5E2CF697-8770-4723-ACDE-F7D163C95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6D58D040-5929-47D6-B819-48A6623EC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EEE22FAB-400B-4194-BFD2-C88C32316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6C47291D-DC7D-4D61-91E0-0B41444F5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6BB7460C-1EFD-4D11-A5B6-D49B68ED7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E5050594-2D8E-4648-9392-4CF27DBB6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1C4E3A95-9208-407B-8B7B-446597D82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1972A829-D9D0-4129-837C-82BF7D0EE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082738DC-5F57-4CEF-B48E-7328E7727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BE64E80-7B90-47FA-9947-E72C60C48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838F422B-5C20-4B6C-92C5-9FC4EACD8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6B4FE1F4-907B-43B2-9C27-B52BBC1E1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C75FEA9A-1EE7-474B-BD28-775FB755B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870A9293-DE9F-4A7C-95D0-9F2DA5C58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5295CC56-7EE7-4D8F-B513-98E96CAFF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80ACCDD9-F1E6-4F40-93FA-B3A872892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7F59725D-BBF6-4157-98C3-23957504F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62743AE9-CDB0-43C4-9109-D17C3C633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E647B80A-E346-44B8-9CFF-BD2FE8C09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FF434DDA-649D-46C7-B84B-79EE0FEC8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CAE6E548-835B-420B-9E12-4B1202E3F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499999999999999</c:v>
                </c:pt>
              </c:numCache>
            </c:numRef>
          </c:xVal>
          <c:yVal>
            <c:numRef>
              <c:f>Sheet1!$B$2:$B$2</c:f>
              <c:numCache>
                <c:formatCode>General</c:formatCode>
                <c:ptCount val="1"/>
                <c:pt idx="0">
                  <c:v>0.12659449735383391</c:v>
                </c:pt>
              </c:numCache>
            </c:numRef>
          </c:yVal>
          <c:bubbleSize>
            <c:numRef>
              <c:f>Sheet1!$C$2:$C$2</c:f>
              <c:numCache>
                <c:formatCode>General</c:formatCode>
                <c:ptCount val="1"/>
                <c:pt idx="0">
                  <c:v>5341941</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1499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6DBB7831-7221-4861-BF74-E80B1FDC7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8C166A7-48B8-4B73-B7FC-73152D621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EF6C417A-2D92-458B-9C8C-9532DBC1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6E03010D-707B-423F-933B-D68B6C3F2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B58EE19-54BF-4B63-9A03-7BBEB668D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1FD98C35-A8A5-4928-910A-EB5CA8BE1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5E1EB950-3007-45E1-9EAB-D38DC2A54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CBFBF94C-3855-42B7-BBE8-C764A9556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BBF12531-27B4-4697-AA89-175576191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75F412B4-09E6-48AF-BB98-7B28C284B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17D43715-00AB-4C5F-8415-EA97AEA464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F87FB116-CDC2-4FD5-98DC-53454ADF5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C49DD714-ACFF-46A0-AD58-BE6B9AADE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61B5743C-03E6-4DA1-B926-0861A2C26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6C5E62E4-9900-41B0-B087-A1CC07157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5A09700B-0149-46AF-8B8C-E6CC0542B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B045F8D4-F63B-4DA9-8BDE-8C340F960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AFE3320D-02D5-4D99-82F0-6B6FD8C4D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42C3089-1B1D-434B-8553-8DC8AA43A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4E1B06FC-695A-4E5E-9173-92A83A52D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70E79B1E-A752-433F-B6D0-3FA5889BA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BE5F0AB8-072C-46D0-9B89-8FD6D0B8C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55706A5E-2403-4768-BED9-E77DAB907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E5D5F102-61A3-4E13-938F-D6E223C0D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BFA4FA40-0F2B-46B4-BB4F-D658D4568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6D1D5C71-A626-41C5-87CC-A1D0F7A8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1C1A206B-8941-4C1B-AD34-6F65689B9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78B6EC96-27A2-48F3-9522-6F0A4DEE4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BA9402BE-94F7-46F8-A89A-E446CAFF5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2CCAB502-4577-4A8C-BE2C-BF8730649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A537F95A-A878-4664-96FE-FA9B5FF2B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2DFD2C3B-732A-450D-A63D-06C3CA4E2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77E5092E-08ED-4765-9B69-08A125F57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3EDC9CB5-0C14-4664-A27E-8A863D8E1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4599572-48A3-49AF-BF05-E6C783C46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C7A5EA74-989C-43C8-A7FE-1E2D2A5A6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712546DD-8ED8-431B-83EE-21F129C06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A69C738F-5239-452B-82DE-D433583CC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70E2EA0-E423-4BE7-8E19-C0F53F3E7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0C2B74E8-11A2-4B1E-B9AC-845D30AFE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D9D08FC-1F82-4AE5-BC52-F34F2DA10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96A19A8B-F286-490E-A9BB-B150ADC8B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6D28CE5D-4D09-4CE6-8E1F-DA9F37208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047748A4-9A7C-4957-960D-B630DA90A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75ED6203-F43E-45B0-9D53-CF6924669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03C74F9-9950-4249-93C1-9996B4922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86</c:v>
                </c:pt>
              </c:numCache>
            </c:numRef>
          </c:xVal>
          <c:yVal>
            <c:numRef>
              <c:f>Sheet1!$B$2:$B$2</c:f>
              <c:numCache>
                <c:formatCode>General</c:formatCode>
                <c:ptCount val="1"/>
                <c:pt idx="0">
                  <c:v>0.27279047397178152</c:v>
                </c:pt>
              </c:numCache>
            </c:numRef>
          </c:yVal>
          <c:bubbleSize>
            <c:numRef>
              <c:f>Sheet1!$C$2:$C$2</c:f>
              <c:numCache>
                <c:formatCode>General</c:formatCode>
                <c:ptCount val="1"/>
                <c:pt idx="0">
                  <c:v>25406313</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8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D86BCAF-07FE-4424-B379-573AEFF39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C53797B-A4E1-4F4D-84FB-1C31FEB07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C01923B-034E-4720-A3CF-AA9A7A282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4126753B-DDD1-43BA-B18B-AF963DEE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68AA08F-9DED-4E24-9A01-C4E117DB0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B043C195-7370-4E24-8F42-F95A3D5D1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2C0030A6-9041-492C-B7AF-B07E24EF9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121C3F49-6F3B-4B51-B822-72DEF5FF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E5AEB771-EF67-491C-BFC9-46C53A9E9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DB153E0D-F04C-460F-8A63-C0BF527CC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F85A9ED-D73F-4664-B831-443DCBAEA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3B475A5E-0DF8-4169-BA2B-2C30AAF94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943E78AD-F9B4-43BD-893D-D6DAB9009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A8132500-3F5A-4061-88AE-D432E811D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724613AA-AD99-473D-8F2C-260311AD2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20488FAB-C966-4F4A-8C9A-1DB85F90B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1C1B53C-A26F-45BA-BC6C-3C1238090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0A7164E-364F-4F14-85DD-998983359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B3D903DB-294E-4AC9-BC82-B750CA1CB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23A8051-E500-44B9-B831-3C4048614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D3D2EA9B-544C-4F12-A399-D222C5353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B358F985-F259-44B3-BDDB-85FBD8778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DCFD7DD9-3498-4B9A-93A0-E2A4AC421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07668754-29D0-48CB-A9AC-968947658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8E8BBC85-5929-4B85-8641-62F9A7F8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015FFAA6-255D-4552-904C-B48D5F24C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36D0B3D2-F7B1-4ABA-80FE-F48EABB8E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51CE531-B5F7-490F-85CE-581DEC925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954A87A0-E084-41B6-B39D-A47026728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9058BE44-0B8A-4EA6-8174-E3FCCDECE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F44AA22-2F24-47F2-9CC9-DF50E3F11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4FEFF0D5-3301-4688-9961-AE80DB474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A77E398C-FF6B-4D58-AFEF-81355200F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BBDA0515-FE2E-430D-A0F9-8DDEAC918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E7A0B83F-6BF5-4E50-8983-D211E8747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90215F14-CDF6-4D16-8C22-8BC1CF46A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0E21ABB0-1E40-4B9C-9BA1-7E3052EB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76F8B4FD-24F9-4B3D-BB3B-9B2F5DE9E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93AB238C-46E9-4491-9D45-E29DF82B9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565B7EB3-ABE0-47FE-BC7D-291E5E990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D5B8FA8C-95A8-4015-B231-DF995B372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BCA38645-7DEE-4C36-9A86-1DD7BB0AC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DB2B3CF8-7DC3-420E-BBD4-B16A4198F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32607AFF-348A-4A86-9887-62D59A722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64446638-6F37-471A-99E7-3E1789D83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5AF8AAC-01B0-4B58-836C-67682C640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c:v>
                </c:pt>
                <c:pt idx="1">
                  <c:v>1.72</c:v>
                </c:pt>
                <c:pt idx="2">
                  <c:v>1.24</c:v>
                </c:pt>
                <c:pt idx="3">
                  <c:v>0.91</c:v>
                </c:pt>
                <c:pt idx="4">
                  <c:v>0.03</c:v>
                </c:pt>
              </c:numCache>
            </c:numRef>
          </c:xVal>
          <c:yVal>
            <c:numRef>
              <c:f>Sheet1!$B$2:$B$6</c:f>
              <c:numCache>
                <c:formatCode>General</c:formatCode>
                <c:ptCount val="5"/>
                <c:pt idx="0">
                  <c:v>0.81460090735963353</c:v>
                </c:pt>
                <c:pt idx="1">
                  <c:v>0.7383750528378934</c:v>
                </c:pt>
                <c:pt idx="2">
                  <c:v>0.76790738086259158</c:v>
                </c:pt>
                <c:pt idx="3">
                  <c:v>0.14103156992395741</c:v>
                </c:pt>
                <c:pt idx="4">
                  <c:v>0.10001820721860551</c:v>
                </c:pt>
              </c:numCache>
            </c:numRef>
          </c:yVal>
          <c:bubbleSize>
            <c:numRef>
              <c:f>Sheet1!$C$2:$C$6</c:f>
              <c:numCache>
                <c:formatCode>General</c:formatCode>
                <c:ptCount val="5"/>
                <c:pt idx="0">
                  <c:v>1778216</c:v>
                </c:pt>
                <c:pt idx="1">
                  <c:v>1356208</c:v>
                </c:pt>
                <c:pt idx="2">
                  <c:v>901567</c:v>
                </c:pt>
                <c:pt idx="3">
                  <c:v>619932</c:v>
                </c:pt>
                <c:pt idx="4">
                  <c:v>829105</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08"/>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112EA2D-A517-4E3F-B8B6-C1B914AE6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101FF74D-B7A0-44BA-B7FE-5B3A0F93A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FD9F0EE9-FEF3-486E-807C-0236A1DDB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40A1F68A-6020-4D27-9024-BE2E2B535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F4952F27-3CC3-4134-96EE-B53C77B67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96954077-878B-446D-8A56-77D80E9DC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7C2AE739-12F9-4F90-84DC-B5884CFFA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023B1761-7462-48F7-B617-7EDF300F5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38DB7698-3E41-4F18-B417-5C93FF5A0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3718E902-1967-40D1-BEDD-53B0A8440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FD5516FD-EEE3-468B-A80F-BBFE2C940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93B49AC7-48D0-4A41-8698-7EAFA170A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07ED2B10-D577-4565-8BF9-894CA2AF3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404A8690-2D7A-4E36-82BC-8ECF7D8BE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B5EBBB67-5329-4BCA-9447-8911C8001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971CFD06-60FE-4350-8AA0-003025819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51B693A5-19B2-44EF-A610-C96C8CEEB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4812E7F-8A34-470C-994E-FC7A54E58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E3F8C9FC-D28B-432E-950F-83CAEF1AD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6D2DF20-1D01-4FCC-9E74-6F445CA17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202CFFDA-B583-4AB3-BE15-28B1016BA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ED235320-54A6-499E-BC23-B6EC40C19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DEFDA14C-1E18-452A-8B90-AB5688DEE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7B423AA1-2048-440D-9743-E3246B5A7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435BB83-996C-42ED-8D59-279F28E4D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BE797F2E-7144-4D0E-A8FD-6B83CA246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FE755808-9D7D-4CF9-A090-69A60CFC0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9A4A471E-E9FB-45A5-ACFF-58384DDD6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3F78914B-FC3E-4B4F-98B5-6C577832E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235F5423-36DA-47D5-87FD-38BED47BA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5C345C66-AB37-43FA-A095-41054AC49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64B8FF5F-7083-4F34-ADA3-FA4FF4A9B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F98D1BE9-3EC8-40A4-8C64-02E59548B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8208E7CD-948C-4266-A6D8-0E58D7821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F9A47917-9A35-42D3-8FB2-FD5A975C5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F914166F-E7AC-4A1E-BD32-7D885E6F5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F7C5F3DE-BA0A-47A3-9597-B6417D984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A5C9D36-4009-4824-A626-498B48F3B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78FB8849-D32A-4783-89D6-71076F9B6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CF0BB64C-1D56-44A3-958A-EEFC99563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C0C86AC0-EC24-416E-A376-12BF24840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97352365-9B20-47E4-B294-83624C7CF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CE953B7-94C5-4193-A6FF-4AD61E7AE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7520910-5F4A-498A-BA52-9D964E0AB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50A85837-8D63-47CC-95B6-33C8E1B04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C6F4301-C092-4365-AEFF-FB41379E7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7</c:v>
                </c:pt>
                <c:pt idx="1">
                  <c:v>1.39</c:v>
                </c:pt>
                <c:pt idx="2">
                  <c:v>-0.03</c:v>
                </c:pt>
                <c:pt idx="3">
                  <c:v>-0.69</c:v>
                </c:pt>
              </c:numCache>
            </c:numRef>
          </c:xVal>
          <c:yVal>
            <c:numRef>
              <c:f>Sheet1!$B$2:$B$5</c:f>
              <c:numCache>
                <c:formatCode>General</c:formatCode>
                <c:ptCount val="4"/>
                <c:pt idx="0">
                  <c:v>0.240954913595957</c:v>
                </c:pt>
                <c:pt idx="1">
                  <c:v>0.13864863616545811</c:v>
                </c:pt>
                <c:pt idx="2">
                  <c:v>-1.9226785309249528E-2</c:v>
                </c:pt>
                <c:pt idx="3">
                  <c:v>-5.4076604412468622E-2</c:v>
                </c:pt>
              </c:numCache>
            </c:numRef>
          </c:yVal>
          <c:bubbleSize>
            <c:numRef>
              <c:f>Sheet1!$C$2:$C$5</c:f>
              <c:numCache>
                <c:formatCode>General</c:formatCode>
                <c:ptCount val="4"/>
                <c:pt idx="0">
                  <c:v>1162498</c:v>
                </c:pt>
                <c:pt idx="1">
                  <c:v>1539499</c:v>
                </c:pt>
                <c:pt idx="2">
                  <c:v>914106</c:v>
                </c:pt>
                <c:pt idx="3">
                  <c:v>143255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c:v>
                </c:pt>
                <c:pt idx="1">
                  <c:v>0.55000000000000004</c:v>
                </c:pt>
                <c:pt idx="2">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1</c:v>
                </c:pt>
                <c:pt idx="1">
                  <c:v>0.44999999999999996</c:v>
                </c:pt>
                <c:pt idx="2">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7999999999999996</c:v>
                </c:pt>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2000000000000004</c:v>
                </c:pt>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c:v>
                </c:pt>
                <c:pt idx="1">
                  <c:v>0.55000000000000004</c:v>
                </c:pt>
                <c:pt idx="2">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1</c:v>
                </c:pt>
                <c:pt idx="1">
                  <c:v>0.44999999999999996</c:v>
                </c:pt>
                <c:pt idx="2">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c:v>
                </c:pt>
                <c:pt idx="2">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1</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522120857474219E-3</c:v>
                </c:pt>
                <c:pt idx="1">
                  <c:v>-4.1315043504938682</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16</c:v>
                </c:pt>
                <c:pt idx="1">
                  <c:v>0.11</c:v>
                </c:pt>
                <c:pt idx="2">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84</c:v>
                </c:pt>
                <c:pt idx="1">
                  <c:v>0.89</c:v>
                </c:pt>
                <c:pt idx="2">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1</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6</c:v>
                </c:pt>
                <c:pt idx="2">
                  <c:v>0.05</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4</c:v>
                </c:pt>
                <c:pt idx="2">
                  <c:v>0.9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1</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4</c:v>
                </c:pt>
                <c:pt idx="2">
                  <c:v>0.04</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6</c:v>
                </c:pt>
                <c:pt idx="2">
                  <c:v>0.9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B$2:$B$3</c:f>
              <c:numCache>
                <c:formatCode>General</c:formatCode>
                <c:ptCount val="2"/>
                <c:pt idx="0">
                  <c:v>0.54</c:v>
                </c:pt>
                <c:pt idx="1">
                  <c:v>0.56000000000000005</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C$2:$C$3</c:f>
              <c:numCache>
                <c:formatCode>General</c:formatCode>
                <c:ptCount val="2"/>
                <c:pt idx="0">
                  <c:v>0.45999999999999996</c:v>
                </c:pt>
                <c:pt idx="1">
                  <c:v>0.43999999999999995</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B$2:$B$3</c:f>
              <c:numCache>
                <c:formatCode>General</c:formatCode>
                <c:ptCount val="2"/>
                <c:pt idx="0">
                  <c:v>0.54</c:v>
                </c:pt>
                <c:pt idx="1">
                  <c:v>0.56000000000000005</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C$2:$C$3</c:f>
              <c:numCache>
                <c:formatCode>General</c:formatCode>
                <c:ptCount val="2"/>
                <c:pt idx="0">
                  <c:v>0.45999999999999996</c:v>
                </c:pt>
                <c:pt idx="1">
                  <c:v>0.43999999999999995</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B$2:$B$3</c:f>
              <c:numCache>
                <c:formatCode>General</c:formatCode>
                <c:ptCount val="2"/>
                <c:pt idx="0">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Razors</c:v>
                </c:pt>
                <c:pt idx="1">
                  <c:v>Refills</c:v>
                </c:pt>
              </c:strCache>
            </c:strRef>
          </c:cat>
          <c:val>
            <c:numRef>
              <c:f>Sheet1!$C$2:$C$3</c:f>
              <c:numCache>
                <c:formatCode>General</c:formatCode>
                <c:ptCount val="2"/>
                <c:pt idx="0">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pt idx="0">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pt idx="0">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B$2:$B$2</c:f>
              <c:numCache>
                <c:formatCode>General</c:formatCode>
                <c:ptCount val="1"/>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2</c:f>
              <c:strCache>
                <c:ptCount val="1"/>
                <c:pt idx="0">
                  <c:v>Disposables</c:v>
                </c:pt>
              </c:strCache>
            </c:strRef>
          </c:cat>
          <c:val>
            <c:numRef>
              <c:f>Sheet1!$C$2:$C$2</c:f>
              <c:numCache>
                <c:formatCode>General</c:formatCode>
                <c:ptCount val="1"/>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0">
                  <c:v>0.22</c:v>
                </c:pt>
                <c:pt idx="1">
                  <c:v>0.09</c:v>
                </c:pt>
                <c:pt idx="2">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0">
                  <c:v>0.78</c:v>
                </c:pt>
                <c:pt idx="1">
                  <c:v>0.91</c:v>
                </c:pt>
                <c:pt idx="2">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6794546959595</c:v>
                </c:pt>
                <c:pt idx="1">
                  <c:v>-1.7983837495581523E-2</c:v>
                </c:pt>
                <c:pt idx="2">
                  <c:v>1.45079542872101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0">
                  <c:v>0.21</c:v>
                </c:pt>
                <c:pt idx="1">
                  <c:v>0.33</c:v>
                </c:pt>
                <c:pt idx="2">
                  <c:v>0.28999999999999998</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0">
                  <c:v>0.79</c:v>
                </c:pt>
                <c:pt idx="1">
                  <c:v>0.66999999999999993</c:v>
                </c:pt>
                <c:pt idx="2">
                  <c:v>0.71</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0">
                  <c:v>0.22</c:v>
                </c:pt>
                <c:pt idx="1">
                  <c:v>0.09</c:v>
                </c:pt>
                <c:pt idx="2">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0">
                  <c:v>0.78</c:v>
                </c:pt>
                <c:pt idx="1">
                  <c:v>0.91</c:v>
                </c:pt>
                <c:pt idx="2">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1">
                  <c:v>0.02</c:v>
                </c:pt>
                <c:pt idx="2">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1">
                  <c:v>0.98</c:v>
                </c:pt>
                <c:pt idx="2">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0">
                  <c:v>0.22</c:v>
                </c:pt>
                <c:pt idx="1">
                  <c:v>0.09</c:v>
                </c:pt>
                <c:pt idx="2">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0">
                  <c:v>0.78</c:v>
                </c:pt>
                <c:pt idx="1">
                  <c:v>0.91</c:v>
                </c:pt>
                <c:pt idx="2">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B$2:$B$4</c:f>
              <c:numCache>
                <c:formatCode>General</c:formatCode>
                <c:ptCount val="3"/>
                <c:pt idx="1">
                  <c:v>0.03</c:v>
                </c:pt>
                <c:pt idx="2">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ybrid</c:v>
                </c:pt>
                <c:pt idx="1">
                  <c:v>Razors</c:v>
                </c:pt>
                <c:pt idx="2">
                  <c:v>Refills</c:v>
                </c:pt>
              </c:strCache>
            </c:strRef>
          </c:cat>
          <c:val>
            <c:numRef>
              <c:f>Sheet1!$C$2:$C$4</c:f>
              <c:numCache>
                <c:formatCode>General</c:formatCode>
                <c:ptCount val="3"/>
                <c:pt idx="1">
                  <c:v>0.97</c:v>
                </c:pt>
                <c:pt idx="2">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Schick</c:v>
                </c:pt>
                <c:pt idx="2">
                  <c:v>Bic</c:v>
                </c:pt>
                <c:pt idx="3">
                  <c:v>Dollar Shave Club</c:v>
                </c:pt>
                <c:pt idx="4">
                  <c:v>Equate</c:v>
                </c:pt>
              </c:strCache>
            </c:strRef>
          </c:cat>
          <c:val>
            <c:numRef>
              <c:f>Sheet1!$B$2:$B$6</c:f>
              <c:numCache>
                <c:formatCode>General</c:formatCode>
                <c:ptCount val="5"/>
                <c:pt idx="0">
                  <c:v>1</c:v>
                </c:pt>
                <c:pt idx="1">
                  <c:v>0.42900000000000005</c:v>
                </c:pt>
                <c:pt idx="2">
                  <c:v>8.6999999999999966E-2</c:v>
                </c:pt>
                <c:pt idx="3">
                  <c:v>0.55600000000000005</c:v>
                </c:pt>
                <c:pt idx="4">
                  <c:v>0.667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B$2:$B$7</c:f>
              <c:numCache>
                <c:formatCode>General</c:formatCode>
                <c:ptCount val="6"/>
                <c:pt idx="0">
                  <c:v>0.4800599895758938</c:v>
                </c:pt>
                <c:pt idx="1">
                  <c:v>0.4936541585792204</c:v>
                </c:pt>
                <c:pt idx="2">
                  <c:v>0.63660508691021123</c:v>
                </c:pt>
                <c:pt idx="3">
                  <c:v>0.76728058932798959</c:v>
                </c:pt>
                <c:pt idx="4">
                  <c:v>0.21534982182334902</c:v>
                </c:pt>
                <c:pt idx="5">
                  <c:v>0.4662158204314625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quate</c:v>
                </c:pt>
                <c:pt idx="1">
                  <c:v>Schick</c:v>
                </c:pt>
                <c:pt idx="2">
                  <c:v>Gillette</c:v>
                </c:pt>
                <c:pt idx="3">
                  <c:v>Harry's</c:v>
                </c:pt>
                <c:pt idx="4">
                  <c:v>Bic</c:v>
                </c:pt>
                <c:pt idx="5">
                  <c:v>Dollar Shave Club</c:v>
                </c:pt>
              </c:strCache>
            </c:strRef>
          </c:cat>
          <c:val>
            <c:numRef>
              <c:f>Sheet1!$C$2:$C$7</c:f>
              <c:numCache>
                <c:formatCode>General</c:formatCode>
                <c:ptCount val="6"/>
                <c:pt idx="0">
                  <c:v>0.5199400104241062</c:v>
                </c:pt>
                <c:pt idx="1">
                  <c:v>0.50634584142077954</c:v>
                </c:pt>
                <c:pt idx="2">
                  <c:v>0.36339491308978877</c:v>
                </c:pt>
                <c:pt idx="3">
                  <c:v>0.23271941067201041</c:v>
                </c:pt>
                <c:pt idx="4">
                  <c:v>0.78465017817665095</c:v>
                </c:pt>
                <c:pt idx="5">
                  <c:v>0.533784179568537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B$2:$B$7</c:f>
              <c:numCache>
                <c:formatCode>General</c:formatCode>
                <c:ptCount val="6"/>
                <c:pt idx="0">
                  <c:v>0.41235092560402192</c:v>
                </c:pt>
                <c:pt idx="1">
                  <c:v>0.22957398641695823</c:v>
                </c:pt>
                <c:pt idx="2">
                  <c:v>0.42881235493349873</c:v>
                </c:pt>
                <c:pt idx="3">
                  <c:v>0.76754734284444692</c:v>
                </c:pt>
                <c:pt idx="4">
                  <c:v>4.1633451649207863E-2</c:v>
                </c:pt>
                <c:pt idx="5">
                  <c:v>0.8919270151618904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chick</c:v>
                </c:pt>
                <c:pt idx="1">
                  <c:v>Equate</c:v>
                </c:pt>
                <c:pt idx="2">
                  <c:v>Gillette</c:v>
                </c:pt>
                <c:pt idx="3">
                  <c:v>Harry's</c:v>
                </c:pt>
                <c:pt idx="4">
                  <c:v>Bic</c:v>
                </c:pt>
                <c:pt idx="5">
                  <c:v>Dollar Shave Club</c:v>
                </c:pt>
              </c:strCache>
            </c:strRef>
          </c:cat>
          <c:val>
            <c:numRef>
              <c:f>Sheet1!$C$2:$C$7</c:f>
              <c:numCache>
                <c:formatCode>General</c:formatCode>
                <c:ptCount val="6"/>
                <c:pt idx="0">
                  <c:v>0.58764907439597813</c:v>
                </c:pt>
                <c:pt idx="1">
                  <c:v>0.77042601358304175</c:v>
                </c:pt>
                <c:pt idx="2">
                  <c:v>0.57118764506650122</c:v>
                </c:pt>
                <c:pt idx="3">
                  <c:v>0.23245265715555308</c:v>
                </c:pt>
                <c:pt idx="4">
                  <c:v>0.95836654835079216</c:v>
                </c:pt>
                <c:pt idx="5">
                  <c:v>0.1080729848381095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0">
                  <c:v>0.91863050166626214</c:v>
                </c:pt>
                <c:pt idx="1">
                  <c:v>0.1348771711615597</c:v>
                </c:pt>
                <c:pt idx="2">
                  <c:v>0.7142081559974458</c:v>
                </c:pt>
                <c:pt idx="3">
                  <c:v>0.5115861006416845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quate</c:v>
                </c:pt>
                <c:pt idx="1">
                  <c:v>Schick</c:v>
                </c:pt>
                <c:pt idx="2">
                  <c:v>Gillette</c:v>
                </c:pt>
                <c:pt idx="3">
                  <c:v>Bic</c:v>
                </c:pt>
              </c:strCache>
            </c:strRef>
          </c:cat>
          <c:val>
            <c:numRef>
              <c:f>Sheet1!$C$2:$C$5</c:f>
              <c:numCache>
                <c:formatCode>General</c:formatCode>
                <c:ptCount val="4"/>
                <c:pt idx="0">
                  <c:v>8.1369498333737855E-2</c:v>
                </c:pt>
                <c:pt idx="1">
                  <c:v>0.86512282883844027</c:v>
                </c:pt>
                <c:pt idx="2">
                  <c:v>0.2857918440025542</c:v>
                </c:pt>
                <c:pt idx="3">
                  <c:v>0.4884138993583154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0/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89.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90.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91.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92.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3.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94.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95.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96.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14.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15.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16.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17.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1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19.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0.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1.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22.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23.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24.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25.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26.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27.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28.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29.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0.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1.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32.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33.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34.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35.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36.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37.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3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39.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40.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41.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42.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43.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44.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45.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46.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48.xml"/><Relationship Id="rId5" Type="http://schemas.openxmlformats.org/officeDocument/2006/relationships/chart" Target="../charts/chart147.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51.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153.xml"/><Relationship Id="rId5" Type="http://schemas.openxmlformats.org/officeDocument/2006/relationships/chart" Target="../charts/chart152.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57.xml"/><Relationship Id="rId5" Type="http://schemas.openxmlformats.org/officeDocument/2006/relationships/chart" Target="../charts/chart156.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59.xml"/><Relationship Id="rId5" Type="http://schemas.openxmlformats.org/officeDocument/2006/relationships/chart" Target="../charts/chart158.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0.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1.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63.xml"/><Relationship Id="rId5" Type="http://schemas.openxmlformats.org/officeDocument/2006/relationships/chart" Target="../charts/chart162.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4.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66.xml"/><Relationship Id="rId5" Type="http://schemas.openxmlformats.org/officeDocument/2006/relationships/chart" Target="../charts/chart16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67.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71.xml"/><Relationship Id="rId5" Type="http://schemas.openxmlformats.org/officeDocument/2006/relationships/chart" Target="../charts/chart170.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2.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3.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4.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5.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77.xml"/><Relationship Id="rId5" Type="http://schemas.openxmlformats.org/officeDocument/2006/relationships/chart" Target="../charts/chart17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81.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187.xml"/><Relationship Id="rId5" Type="http://schemas.openxmlformats.org/officeDocument/2006/relationships/chart" Target="../charts/chart186.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193.xml"/><Relationship Id="rId5" Type="http://schemas.openxmlformats.org/officeDocument/2006/relationships/chart" Target="../charts/chart192.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195.xml"/><Relationship Id="rId5" Type="http://schemas.openxmlformats.org/officeDocument/2006/relationships/chart" Target="../charts/chart194.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01.xml"/><Relationship Id="rId5" Type="http://schemas.openxmlformats.org/officeDocument/2006/relationships/chart" Target="../charts/chart20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07.xml"/><Relationship Id="rId5" Type="http://schemas.openxmlformats.org/officeDocument/2006/relationships/chart" Target="../charts/chart206.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11.xml"/><Relationship Id="rId5" Type="http://schemas.openxmlformats.org/officeDocument/2006/relationships/chart" Target="../charts/chart210.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22.xml"/><Relationship Id="rId4" Type="http://schemas.openxmlformats.org/officeDocument/2006/relationships/image" Target="../media/image31.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23.xml"/><Relationship Id="rId4" Type="http://schemas.openxmlformats.org/officeDocument/2006/relationships/image" Target="../media/image31.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25.xml"/><Relationship Id="rId5" Type="http://schemas.openxmlformats.org/officeDocument/2006/relationships/chart" Target="../charts/chart224.xml"/><Relationship Id="rId4" Type="http://schemas.openxmlformats.org/officeDocument/2006/relationships/image" Target="../media/image31.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31.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image" Target="../media/image31.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30.xml"/><Relationship Id="rId4" Type="http://schemas.openxmlformats.org/officeDocument/2006/relationships/image" Target="../media/image31.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32.xml"/><Relationship Id="rId5" Type="http://schemas.openxmlformats.org/officeDocument/2006/relationships/chart" Target="../charts/chart231.xml"/><Relationship Id="rId4" Type="http://schemas.openxmlformats.org/officeDocument/2006/relationships/image" Target="../media/image31.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33.xml"/><Relationship Id="rId4" Type="http://schemas.openxmlformats.org/officeDocument/2006/relationships/image" Target="../media/image31.emf"/></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235.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23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3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3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chart" Target="../charts/chart241.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4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4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chart" Target="../charts/chart245.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4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4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5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5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5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chart" Target="../charts/chart257.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5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5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5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6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6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6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6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chart" Target="../charts/chart272.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2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274.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278.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2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280.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286.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95.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96.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97.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98.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99.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300.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301.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302.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30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304.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305.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306.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85.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86.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87.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8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46690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33583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991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96598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452548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36373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62686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215293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891599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380113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2912605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System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39376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0735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6958933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75171991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Razor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9105300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Refill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0066176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4846904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851115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System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070675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Disposables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6862345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omfort 3</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System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207971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92393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78160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Disposables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2518284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01758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Razors | Bj's And Sam'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912817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Razor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61494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Van Der Hage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Refill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42220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935662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8083806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304037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9195041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45693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98628525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527391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6753763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99520060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5327472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8302863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8297326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1142935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54207709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7902173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33316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4869595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6067633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10724989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10849006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55283235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47886176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3881879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1759835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199042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6898219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94728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02633848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0896436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61324639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0826579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4454054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65989572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0354372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0579839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23413202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6725062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370818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01832183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511668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875607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404032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3436645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427551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807568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21119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6835058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5912448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25659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65148640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21374205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076918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7039538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3899271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156701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163504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123307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81144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7530398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489979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26747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55507419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40156124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13827991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31530920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6350306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27707731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73301848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1370801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00908983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30427111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5410342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Cremo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10847896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79854622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211246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Cremo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10522748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23026754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8688022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25303423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02048618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420320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01540979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31015536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20142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62354368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80813399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500612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0279852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13597897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4517967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4103383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29577035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36500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36993508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7074677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Cremo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59584605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774255301"/>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2010730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Cremo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50618550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13236470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0564693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86128336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83530588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5101414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80773005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93629937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180199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azor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07930788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68352574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6257000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efill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81058102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65653136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498301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50964669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34071736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322728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efill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70739905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530482885"/>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271706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azors | Cremo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46786892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99480448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504132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azors | Cremo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77006168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409129884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75136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73137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841632895"/>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7066207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efills | Cremo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83545963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03235149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4831403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Bj's And Sam's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994368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Walmart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306725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Manual Shave Men | Bj's And Sam's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0743789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Manual Shave Men | Walmart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532789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System | Bj's And Sam's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3357642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Disposables | Bj's And Sam'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135154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System | Walmart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3350178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Disposables | Walmart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923599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1002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197265096"/>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876150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449818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3644314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514060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745730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045719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2286503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7274460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667612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557281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Cremo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25054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74519987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2698087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Cremo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431648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088610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542243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dgewell Personal Car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0017958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952190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319791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163277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3455803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6686573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0439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97983200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4300639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6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76923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21102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630941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0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9756245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73255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014639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579050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977961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453341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4582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333511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9990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950362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71266675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4103268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66682260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77268635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409513394"/>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6974113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88760177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40973426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053647415"/>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2045751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4265539961"/>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8295974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60063258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213385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System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62437617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812244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002877458"/>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78058223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266865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141926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154786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381860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027747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339444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73157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132815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843443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074140451"/>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318557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486363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450776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7887768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Manual Shave Men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53405182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6"/>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591311">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91311">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91311">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591311">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591311">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591311">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System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01996790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5666773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Bic</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Disposable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13095635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8"/>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886967">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886967">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886967">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886967">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Razor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04430456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5"/>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709573">
                <a:tc>
                  <a:txBody>
                    <a:bodyPr/>
                    <a:lstStyle/>
                    <a:p>
                      <a:pPr algn="l">
                        <a:defRPr sz="900" b="0">
                          <a:latin typeface="Nexa Bold"/>
                        </a:defRPr>
                      </a:pPr>
                      <a:r>
                        <a:rPr sz="900">
                          <a:latin typeface="Nexa Bold"/>
                        </a:rPr>
                        <a:t>Gillet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709573">
                <a:tc>
                  <a:txBody>
                    <a:bodyPr/>
                    <a:lstStyle/>
                    <a:p>
                      <a:pPr algn="l">
                        <a:defRPr sz="900" b="0">
                          <a:latin typeface="Nexa Bold"/>
                        </a:defRPr>
                      </a:pPr>
                      <a:r>
                        <a:rPr sz="900">
                          <a:latin typeface="Nexa Bold"/>
                        </a:rPr>
                        <a:t>Harry'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709573">
                <a:tc>
                  <a:txBody>
                    <a:bodyPr/>
                    <a:lstStyle/>
                    <a:p>
                      <a:pPr algn="l">
                        <a:defRPr sz="900" b="0">
                          <a:latin typeface="Nexa Bold"/>
                        </a:defRPr>
                      </a:pPr>
                      <a:r>
                        <a:rPr sz="900">
                          <a:latin typeface="Nexa Bold"/>
                        </a:rPr>
                        <a:t>Schick</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709573">
                <a:tc>
                  <a:txBody>
                    <a:bodyPr/>
                    <a:lstStyle/>
                    <a:p>
                      <a:pPr algn="l">
                        <a:defRPr sz="900" b="0">
                          <a:latin typeface="Nexa Bold"/>
                        </a:defRPr>
                      </a:pPr>
                      <a:r>
                        <a:rPr sz="900">
                          <a:latin typeface="Nexa Bold"/>
                        </a:rPr>
                        <a:t>Dollar Shave Club</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709573">
                <a:tc>
                  <a:txBody>
                    <a:bodyPr/>
                    <a:lstStyle/>
                    <a:p>
                      <a:pPr algn="l">
                        <a:defRPr sz="900" b="0">
                          <a:latin typeface="Nexa Bold"/>
                        </a:defRPr>
                      </a:pPr>
                      <a:r>
                        <a:rPr sz="900">
                          <a:latin typeface="Nexa Bold"/>
                        </a:rPr>
                        <a:t>Equat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total size | Refills | Walmart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426984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System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449417151"/>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55357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8229212"/>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37603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9559601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5225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62741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447118793"/>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28698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azor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601989566"/>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8883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efill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509714975"/>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0122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azor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4654272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2874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efill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21048832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60063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GREEN 3 BLADE DISPOSABLE SENSITIVE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66306456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849397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2544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2544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2544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2544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2544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25440">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25440">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25440">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25440">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25440">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25440">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25440">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25440">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25440">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25440">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25440">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18732768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8499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System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09078051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09954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45640716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59390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System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4"/>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00587">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300587">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300587">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300587">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300587">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300587">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300587">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300587">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300587">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300587">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300587">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300587">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58809321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88103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39268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83877443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1043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7484245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566935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612581721"/>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231620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azor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1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892242197"/>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859752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efill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55252637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006796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azor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072432949"/>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98736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efill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27157339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85344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3.51</a:t>
                      </a:r>
                    </a:p>
                  </a:txBody>
                  <a:tcPr marL="2858" marR="2858" marT="2858" marB="0" anchor="ctr">
                    <a:noFill/>
                  </a:tcPr>
                </a:tc>
                <a:tc>
                  <a:txBody>
                    <a:bodyPr/>
                    <a:lstStyle/>
                    <a:p>
                      <a:pPr algn="ctr">
                        <a:defRPr sz="600">
                          <a:latin typeface="Nexa Book"/>
                        </a:defRPr>
                      </a:pPr>
                      <a:r>
                        <a:rPr sz="600">
                          <a:latin typeface="Nexa Book"/>
                        </a:rPr>
                        <a:t> 30.52</a:t>
                      </a:r>
                    </a:p>
                  </a:txBody>
                  <a:tcPr marL="2858" marR="2858" marT="2858" marB="0" anchor="ctr">
                    <a:noFill/>
                  </a:tcPr>
                </a:tc>
                <a:tc>
                  <a:txBody>
                    <a:bodyPr/>
                    <a:lstStyle/>
                    <a:p>
                      <a:pPr algn="ctr">
                        <a:defRPr sz="600">
                          <a:latin typeface="Nexa Book"/>
                        </a:defRPr>
                      </a:pPr>
                      <a:r>
                        <a:rPr sz="600">
                          <a:latin typeface="Nexa Book"/>
                        </a:rPr>
                        <a:t>8'454'93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1529188</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267830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72"/>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02582">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644045330"/>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02582">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5376688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714</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7127566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64795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647952">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647952">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647952">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647952">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55788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9775280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1</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5</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40585</a:t>
                      </a:r>
                    </a:p>
                  </a:txBody>
                  <a:tcPr marL="2858" marR="2858" marT="2858" marB="0" anchor="ctr">
                    <a:noFill/>
                  </a:tcPr>
                </a:tc>
                <a:tc>
                  <a:txBody>
                    <a:bodyPr/>
                    <a:lstStyle/>
                    <a:p>
                      <a:pPr algn="ctr">
                        <a:defRPr sz="600">
                          <a:latin typeface="Nexa Book"/>
                        </a:defRPr>
                      </a:pPr>
                      <a:r>
                        <a:rPr sz="600">
                          <a:latin typeface="Nexa Book"/>
                        </a:rPr>
                        <a:t>1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02567</a:t>
                      </a:r>
                    </a:p>
                  </a:txBody>
                  <a:tcPr marL="2858" marR="2858" marT="2858" marB="0" anchor="ctr">
                    <a:noFill/>
                  </a:tcPr>
                </a:tc>
                <a:tc>
                  <a:txBody>
                    <a:bodyPr/>
                    <a:lstStyle/>
                    <a:p>
                      <a:pPr algn="ctr">
                        <a:defRPr sz="600">
                          <a:latin typeface="Nexa Book"/>
                        </a:defRPr>
                      </a:pPr>
                      <a:r>
                        <a:rPr sz="600">
                          <a:latin typeface="Nexa Book"/>
                        </a:rPr>
                        <a:t>14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9</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41685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5087869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18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7651041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9326</a:t>
                      </a:r>
                    </a:p>
                  </a:txBody>
                  <a:tcPr marL="2858" marR="2858" marT="2858" marB="0" anchor="ctr">
                    <a:noFill/>
                  </a:tcPr>
                </a:tc>
                <a:tc>
                  <a:txBody>
                    <a:bodyPr/>
                    <a:lstStyle/>
                    <a:p>
                      <a:pPr algn="ctr">
                        <a:defRPr sz="600">
                          <a:latin typeface="Nexa Book"/>
                        </a:defRPr>
                      </a:pPr>
                      <a:r>
                        <a:rPr sz="600">
                          <a:latin typeface="Nexa Book"/>
                        </a:rPr>
                        <a:t>14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15</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593884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AZOR NORMAL 1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6.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3.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1'94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09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5371699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7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3289868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96</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77%</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256270</a:t>
                      </a:r>
                    </a:p>
                  </a:txBody>
                  <a:tcPr marL="2858" marR="2858" marT="2858" marB="0" anchor="ctr">
                    <a:noFill/>
                  </a:tcPr>
                </a:tc>
                <a:tc>
                  <a:txBody>
                    <a:bodyPr/>
                    <a:lstStyle/>
                    <a:p>
                      <a:pPr algn="ctr">
                        <a:defRPr sz="600">
                          <a:latin typeface="Nexa Book"/>
                        </a:defRPr>
                      </a:pPr>
                      <a:r>
                        <a:rPr sz="600">
                          <a:latin typeface="Nexa Book"/>
                        </a:rPr>
                        <a:t>12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2</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1%</a:t>
                      </a:r>
                    </a:p>
                  </a:txBody>
                  <a:tcPr marL="2858" marR="2858" marT="2858" marB="0" anchor="ctr">
                    <a:noFill/>
                  </a:tcPr>
                </a:tc>
                <a:tc>
                  <a:txBody>
                    <a:bodyPr/>
                    <a:lstStyle/>
                    <a:p>
                      <a:pPr algn="ctr">
                        <a:defRPr sz="600">
                          <a:latin typeface="Nexa Book"/>
                        </a:defRPr>
                      </a:pPr>
                      <a:r>
                        <a:rPr sz="600">
                          <a:latin typeface="Nexa Book"/>
                        </a:rPr>
                        <a:t>89261</a:t>
                      </a:r>
                    </a:p>
                  </a:txBody>
                  <a:tcPr marL="2858" marR="2858" marT="2858" marB="0" anchor="ctr">
                    <a:noFill/>
                  </a:tcPr>
                </a:tc>
                <a:tc>
                  <a:txBody>
                    <a:bodyPr/>
                    <a:lstStyle/>
                    <a:p>
                      <a:pPr algn="ctr">
                        <a:defRPr sz="600">
                          <a:latin typeface="Nexa Book"/>
                        </a:defRPr>
                      </a:pPr>
                      <a:r>
                        <a:rPr sz="600">
                          <a:latin typeface="Nexa Book"/>
                        </a:rPr>
                        <a:t>9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1%</a:t>
                      </a:r>
                    </a:p>
                  </a:txBody>
                  <a:tcPr marL="2858" marR="2858" marT="2858" marB="0" anchor="ctr">
                    <a:noFill/>
                  </a:tcPr>
                </a:tc>
                <a:tc>
                  <a:txBody>
                    <a:bodyPr/>
                    <a:lstStyle/>
                    <a:p>
                      <a:pPr algn="ctr">
                        <a:defRPr sz="600">
                          <a:latin typeface="Nexa Book"/>
                        </a:defRPr>
                      </a:pPr>
                      <a:r>
                        <a:rPr sz="600">
                          <a:latin typeface="Nexa Book"/>
                        </a:rPr>
                        <a:t>20501</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3138252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4.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9.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62'49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05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6</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228597</a:t>
                      </a:r>
                    </a:p>
                  </a:txBody>
                  <a:tcPr marL="2858" marR="2858" marT="2858" marB="0" anchor="ctr">
                    <a:noFill/>
                  </a:tcPr>
                </a:tc>
                <a:tc>
                  <a:txBody>
                    <a:bodyPr/>
                    <a:lstStyle/>
                    <a:p>
                      <a:pPr algn="ctr">
                        <a:defRPr sz="600">
                          <a:latin typeface="Nexa Book"/>
                        </a:defRPr>
                      </a:pPr>
                      <a:r>
                        <a:rPr sz="600">
                          <a:latin typeface="Nexa Book"/>
                        </a:rPr>
                        <a:t>13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9626977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889974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26068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247264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5980344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301085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10.69</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1291615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1240968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338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86</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37707</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995809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90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41912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7899416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51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2251018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Equa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EQUATE EASY FIT 5 5 BLADE REFILL NORMAL 1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5.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6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8%</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3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931406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474959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5412782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7318811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9506987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6752647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45</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9</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330267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9171147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2.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9.7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0'4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7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1</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963</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2</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233851</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4368300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7</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6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7.4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6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r>
                        <a:rPr sz="600">
                          <a:latin typeface="Nexa Book"/>
                        </a:rPr>
                        <a:t>239008</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6754297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9469944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9.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4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8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44</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115%</a:t>
                      </a:r>
                    </a:p>
                  </a:txBody>
                  <a:tcPr marL="2858" marR="2858" marT="2858" marB="0" anchor="ctr">
                    <a:noFill/>
                  </a:tcPr>
                </a:tc>
                <a:tc>
                  <a:txBody>
                    <a:bodyPr/>
                    <a:lstStyle/>
                    <a:p>
                      <a:pPr algn="ctr">
                        <a:defRPr sz="600">
                          <a:latin typeface="Nexa Book"/>
                        </a:defRPr>
                      </a:pPr>
                      <a:r>
                        <a:rPr sz="600">
                          <a:latin typeface="Nexa Book"/>
                        </a:rPr>
                        <a:t>385199</a:t>
                      </a:r>
                    </a:p>
                  </a:txBody>
                  <a:tcPr marL="2858" marR="2858" marT="2858" marB="0" anchor="ctr">
                    <a:noFill/>
                  </a:tcPr>
                </a:tc>
                <a:tc>
                  <a:txBody>
                    <a:bodyPr/>
                    <a:lstStyle/>
                    <a:p>
                      <a:pPr algn="ctr">
                        <a:defRPr sz="600">
                          <a:latin typeface="Nexa Book"/>
                        </a:defRPr>
                      </a:pPr>
                      <a:r>
                        <a:rPr sz="600">
                          <a:latin typeface="Nexa Book"/>
                        </a:rPr>
                        <a:t>172%</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01751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68037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3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772</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5</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17</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59</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41%</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5</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55</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22.71</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26</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6</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1.50</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77165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50515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76643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947094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00211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6386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99434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51418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58736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9311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16805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33087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06815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19636">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9945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58968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159647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04821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60966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323587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73429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2580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TotalTime>
  <Words>29630</Words>
  <Application>Microsoft Office PowerPoint</Application>
  <PresentationFormat>On-screen Show (16:9)</PresentationFormat>
  <Paragraphs>9736</Paragraphs>
  <Slides>268</Slides>
  <Notes>11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68</vt:i4>
      </vt:variant>
    </vt:vector>
  </HeadingPairs>
  <TitlesOfParts>
    <vt:vector size="282" baseType="lpstr">
      <vt:lpstr>Aptos</vt:lpstr>
      <vt:lpstr>Arial</vt:lpstr>
      <vt:lpstr>Calibri</vt:lpstr>
      <vt:lpstr>Nexa</vt:lpstr>
      <vt:lpstr>Nexa Bold</vt:lpstr>
      <vt:lpstr>Nexa Bold (Headings)</vt:lpstr>
      <vt:lpstr>Nexa Book</vt:lpstr>
      <vt:lpstr>Nexa Book (Body)</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60</cp:revision>
  <dcterms:created xsi:type="dcterms:W3CDTF">2024-07-08T12:46:55Z</dcterms:created>
  <dcterms:modified xsi:type="dcterms:W3CDTF">2025-08-10T13:5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